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75"/>
  </p:notesMasterIdLst>
  <p:sldIdLst>
    <p:sldId id="256" r:id="rId2"/>
    <p:sldId id="257" r:id="rId3"/>
    <p:sldId id="267" r:id="rId4"/>
    <p:sldId id="324" r:id="rId5"/>
    <p:sldId id="330" r:id="rId6"/>
    <p:sldId id="334" r:id="rId7"/>
    <p:sldId id="338" r:id="rId8"/>
    <p:sldId id="335" r:id="rId9"/>
    <p:sldId id="339" r:id="rId10"/>
    <p:sldId id="270" r:id="rId11"/>
    <p:sldId id="271" r:id="rId12"/>
    <p:sldId id="266" r:id="rId13"/>
    <p:sldId id="269" r:id="rId14"/>
    <p:sldId id="336" r:id="rId15"/>
    <p:sldId id="337" r:id="rId16"/>
    <p:sldId id="272" r:id="rId17"/>
    <p:sldId id="273" r:id="rId18"/>
    <p:sldId id="274" r:id="rId19"/>
    <p:sldId id="276" r:id="rId20"/>
    <p:sldId id="277" r:id="rId21"/>
    <p:sldId id="278" r:id="rId22"/>
    <p:sldId id="280" r:id="rId23"/>
    <p:sldId id="279" r:id="rId24"/>
    <p:sldId id="281" r:id="rId25"/>
    <p:sldId id="282" r:id="rId26"/>
    <p:sldId id="283" r:id="rId27"/>
    <p:sldId id="284" r:id="rId28"/>
    <p:sldId id="285" r:id="rId29"/>
    <p:sldId id="287" r:id="rId30"/>
    <p:sldId id="286" r:id="rId31"/>
    <p:sldId id="288" r:id="rId32"/>
    <p:sldId id="289" r:id="rId33"/>
    <p:sldId id="290" r:id="rId34"/>
    <p:sldId id="291" r:id="rId35"/>
    <p:sldId id="292" r:id="rId36"/>
    <p:sldId id="293" r:id="rId37"/>
    <p:sldId id="294" r:id="rId38"/>
    <p:sldId id="295" r:id="rId39"/>
    <p:sldId id="302" r:id="rId40"/>
    <p:sldId id="296" r:id="rId41"/>
    <p:sldId id="303" r:id="rId42"/>
    <p:sldId id="297" r:id="rId43"/>
    <p:sldId id="304" r:id="rId44"/>
    <p:sldId id="305" r:id="rId45"/>
    <p:sldId id="298" r:id="rId46"/>
    <p:sldId id="299" r:id="rId47"/>
    <p:sldId id="306" r:id="rId48"/>
    <p:sldId id="300" r:id="rId49"/>
    <p:sldId id="307" r:id="rId50"/>
    <p:sldId id="308" r:id="rId51"/>
    <p:sldId id="309" r:id="rId52"/>
    <p:sldId id="310" r:id="rId53"/>
    <p:sldId id="311" r:id="rId54"/>
    <p:sldId id="312" r:id="rId55"/>
    <p:sldId id="314" r:id="rId56"/>
    <p:sldId id="313" r:id="rId57"/>
    <p:sldId id="315" r:id="rId58"/>
    <p:sldId id="317" r:id="rId59"/>
    <p:sldId id="318" r:id="rId60"/>
    <p:sldId id="319" r:id="rId61"/>
    <p:sldId id="320" r:id="rId62"/>
    <p:sldId id="322" r:id="rId63"/>
    <p:sldId id="321" r:id="rId64"/>
    <p:sldId id="323" r:id="rId65"/>
    <p:sldId id="325" r:id="rId66"/>
    <p:sldId id="326" r:id="rId67"/>
    <p:sldId id="327" r:id="rId68"/>
    <p:sldId id="328" r:id="rId69"/>
    <p:sldId id="329" r:id="rId70"/>
    <p:sldId id="333" r:id="rId71"/>
    <p:sldId id="331" r:id="rId72"/>
    <p:sldId id="332" r:id="rId73"/>
    <p:sldId id="265" r:id="rId74"/>
  </p:sldIdLst>
  <p:sldSz cx="12192000" cy="6858000"/>
  <p:notesSz cx="6858000" cy="9144000"/>
  <p:custDataLst>
    <p:tags r:id="rId7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소개" id="{C19DCF2C-E514-46CC-8C09-4A34411F351B}">
          <p14:sldIdLst>
            <p14:sldId id="256"/>
            <p14:sldId id="257"/>
            <p14:sldId id="267"/>
            <p14:sldId id="324"/>
            <p14:sldId id="330"/>
            <p14:sldId id="334"/>
            <p14:sldId id="338"/>
            <p14:sldId id="335"/>
            <p14:sldId id="339"/>
            <p14:sldId id="270"/>
            <p14:sldId id="271"/>
          </p14:sldIdLst>
        </p14:section>
        <p14:section name="실습(EDA)" id="{F120CE5F-FE75-498F-B7A6-E8DD5F10953F}">
          <p14:sldIdLst>
            <p14:sldId id="266"/>
            <p14:sldId id="269"/>
            <p14:sldId id="336"/>
            <p14:sldId id="337"/>
            <p14:sldId id="272"/>
            <p14:sldId id="273"/>
            <p14:sldId id="274"/>
            <p14:sldId id="276"/>
            <p14:sldId id="277"/>
            <p14:sldId id="278"/>
            <p14:sldId id="280"/>
            <p14:sldId id="279"/>
            <p14:sldId id="281"/>
            <p14:sldId id="282"/>
            <p14:sldId id="283"/>
            <p14:sldId id="284"/>
            <p14:sldId id="285"/>
            <p14:sldId id="287"/>
            <p14:sldId id="286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302"/>
            <p14:sldId id="296"/>
            <p14:sldId id="303"/>
            <p14:sldId id="297"/>
            <p14:sldId id="304"/>
            <p14:sldId id="305"/>
            <p14:sldId id="298"/>
            <p14:sldId id="299"/>
            <p14:sldId id="306"/>
            <p14:sldId id="300"/>
            <p14:sldId id="307"/>
            <p14:sldId id="308"/>
            <p14:sldId id="309"/>
            <p14:sldId id="310"/>
            <p14:sldId id="311"/>
            <p14:sldId id="312"/>
            <p14:sldId id="314"/>
            <p14:sldId id="313"/>
            <p14:sldId id="315"/>
            <p14:sldId id="317"/>
            <p14:sldId id="318"/>
            <p14:sldId id="319"/>
            <p14:sldId id="320"/>
            <p14:sldId id="322"/>
            <p14:sldId id="321"/>
            <p14:sldId id="323"/>
          </p14:sldIdLst>
        </p14:section>
        <p14:section name="실습(machine learning)" id="{42336D55-1A2F-4CAD-82B1-87BF9EDDB2F1}">
          <p14:sldIdLst>
            <p14:sldId id="325"/>
            <p14:sldId id="326"/>
            <p14:sldId id="327"/>
            <p14:sldId id="328"/>
            <p14:sldId id="329"/>
            <p14:sldId id="333"/>
            <p14:sldId id="331"/>
            <p14:sldId id="332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CB91"/>
    <a:srgbClr val="2AAD5F"/>
    <a:srgbClr val="209E76"/>
    <a:srgbClr val="8FF3B7"/>
    <a:srgbClr val="CFFCE2"/>
    <a:srgbClr val="1D9EFF"/>
    <a:srgbClr val="89CCFF"/>
    <a:srgbClr val="004D86"/>
    <a:srgbClr val="BDE3FF"/>
    <a:srgbClr val="E5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88" autoAdjust="0"/>
    <p:restoredTop sz="61613" autoAdjust="0"/>
  </p:normalViewPr>
  <p:slideViewPr>
    <p:cSldViewPr snapToGrid="0" showGuides="1">
      <p:cViewPr>
        <p:scale>
          <a:sx n="50" d="100"/>
          <a:sy n="50" d="100"/>
        </p:scale>
        <p:origin x="528" y="4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B1077-69F0-4CE0-B873-961BEB58702E}" type="datetimeFigureOut">
              <a:rPr lang="en-ID" smtClean="0"/>
              <a:t>17/0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749012-E447-46F3-AD38-68764629593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1939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553832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저희가 사용할 데이터셋은 타이타닉 데이터로 </a:t>
            </a:r>
            <a:r>
              <a:rPr kumimoji="1" lang="ko-KR" altLang="en-US" dirty="0" err="1"/>
              <a:t>캐글</a:t>
            </a:r>
            <a:r>
              <a:rPr kumimoji="1" lang="ko-KR" altLang="en-US" dirty="0"/>
              <a:t> 경진대회에서 사용되었던 데이터입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21560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이 데이터에는 여러가지 변수가 있습니다</a:t>
            </a:r>
            <a:r>
              <a:rPr kumimoji="1" lang="en-US" altLang="ko-KR" dirty="0"/>
              <a:t>.</a:t>
            </a:r>
          </a:p>
          <a:p>
            <a:r>
              <a:rPr kumimoji="1" lang="en-US" altLang="ko-KR" dirty="0"/>
              <a:t>Survival</a:t>
            </a:r>
            <a:r>
              <a:rPr kumimoji="1" lang="ko-KR" altLang="en-US" dirty="0"/>
              <a:t>은 생존여부로 </a:t>
            </a:r>
            <a:r>
              <a:rPr kumimoji="1" lang="en-US" altLang="ko-KR" dirty="0"/>
              <a:t>0</a:t>
            </a:r>
            <a:r>
              <a:rPr kumimoji="1" lang="ko-KR" altLang="en-US" dirty="0"/>
              <a:t>은 사망 </a:t>
            </a:r>
            <a:r>
              <a:rPr kumimoji="1" lang="en-US" altLang="ko-KR" dirty="0"/>
              <a:t>1</a:t>
            </a:r>
            <a:r>
              <a:rPr kumimoji="1" lang="ko-KR" altLang="en-US" dirty="0"/>
              <a:t>은 생존을 의미합니다</a:t>
            </a:r>
            <a:r>
              <a:rPr kumimoji="1" lang="en-US" altLang="ko-KR" dirty="0"/>
              <a:t>.</a:t>
            </a:r>
          </a:p>
          <a:p>
            <a:r>
              <a:rPr kumimoji="1" lang="en-US" altLang="ko-KR" dirty="0" err="1"/>
              <a:t>Pclass</a:t>
            </a:r>
            <a:r>
              <a:rPr kumimoji="1" lang="ko-KR" altLang="en-US" dirty="0"/>
              <a:t>는 티켓의 등급으로 </a:t>
            </a:r>
            <a:r>
              <a:rPr kumimoji="1" lang="en-US" altLang="ko-KR" dirty="0"/>
              <a:t>1</a:t>
            </a:r>
            <a:r>
              <a:rPr kumimoji="1" lang="ko-KR" altLang="en-US" dirty="0"/>
              <a:t>은 </a:t>
            </a:r>
            <a:r>
              <a:rPr kumimoji="1" lang="en-US" altLang="ko-KR" dirty="0"/>
              <a:t>1</a:t>
            </a:r>
            <a:r>
              <a:rPr kumimoji="1" lang="ko-KR" altLang="en-US" dirty="0"/>
              <a:t>등급</a:t>
            </a:r>
            <a:r>
              <a:rPr kumimoji="1" lang="en-US" altLang="ko-KR" dirty="0"/>
              <a:t>,2</a:t>
            </a:r>
            <a:r>
              <a:rPr kumimoji="1" lang="ko-KR" altLang="en-US" dirty="0"/>
              <a:t>는 </a:t>
            </a:r>
            <a:r>
              <a:rPr kumimoji="1" lang="en-US" altLang="ko-KR" dirty="0"/>
              <a:t>2</a:t>
            </a:r>
            <a:r>
              <a:rPr kumimoji="1" lang="ko-KR" altLang="en-US" dirty="0"/>
              <a:t>등급</a:t>
            </a:r>
            <a:r>
              <a:rPr kumimoji="1" lang="en-US" altLang="ko-KR" dirty="0"/>
              <a:t>, 3</a:t>
            </a:r>
            <a:r>
              <a:rPr kumimoji="1" lang="ko-KR" altLang="en-US" dirty="0"/>
              <a:t>은 </a:t>
            </a:r>
            <a:r>
              <a:rPr kumimoji="1" lang="en-US" altLang="ko-KR" dirty="0"/>
              <a:t>3</a:t>
            </a:r>
            <a:r>
              <a:rPr kumimoji="1" lang="ko-KR" altLang="en-US" dirty="0"/>
              <a:t>등급 좌석의 티켓을 의미합니다</a:t>
            </a:r>
            <a:r>
              <a:rPr kumimoji="1" lang="en-US" altLang="ko-KR" dirty="0"/>
              <a:t>.</a:t>
            </a:r>
          </a:p>
          <a:p>
            <a:r>
              <a:rPr kumimoji="1" lang="en-US" altLang="ko-KR" dirty="0"/>
              <a:t>Sex</a:t>
            </a:r>
            <a:r>
              <a:rPr kumimoji="1" lang="ko-KR" altLang="en-US" dirty="0"/>
              <a:t>는 성별</a:t>
            </a:r>
            <a:r>
              <a:rPr kumimoji="1" lang="en-US" altLang="ko-KR" dirty="0"/>
              <a:t>, age</a:t>
            </a:r>
            <a:r>
              <a:rPr kumimoji="1" lang="ko-KR" altLang="en-US" dirty="0"/>
              <a:t>는 나이를 의미하고</a:t>
            </a:r>
            <a:endParaRPr kumimoji="1" lang="en-US" altLang="ko-KR" dirty="0"/>
          </a:p>
          <a:p>
            <a:r>
              <a:rPr kumimoji="1" lang="en-US" altLang="ko-KR" dirty="0" err="1"/>
              <a:t>Sibsp</a:t>
            </a:r>
            <a:r>
              <a:rPr kumimoji="1" lang="ko-KR" altLang="en-US" dirty="0"/>
              <a:t>는 함께 탑승한 형제나 배우자의 수</a:t>
            </a:r>
            <a:r>
              <a:rPr kumimoji="1" lang="en-US" altLang="ko-KR" dirty="0"/>
              <a:t>. Parch</a:t>
            </a:r>
            <a:r>
              <a:rPr kumimoji="1" lang="ko-KR" altLang="en-US" dirty="0"/>
              <a:t>는</a:t>
            </a:r>
            <a:r>
              <a:rPr kumimoji="1" lang="en-US" altLang="ko-KR" dirty="0"/>
              <a:t> </a:t>
            </a:r>
            <a:r>
              <a:rPr kumimoji="1" lang="ko-KR" altLang="en-US" dirty="0"/>
              <a:t>함께 탑승한 부모나 자식의 수를 의미합니다</a:t>
            </a:r>
            <a:r>
              <a:rPr kumimoji="1" lang="en-US" altLang="ko-KR" dirty="0"/>
              <a:t>.</a:t>
            </a:r>
          </a:p>
          <a:p>
            <a:r>
              <a:rPr kumimoji="1" lang="en-US" altLang="ko-KR" dirty="0"/>
              <a:t>Ticket</a:t>
            </a:r>
            <a:r>
              <a:rPr kumimoji="1" lang="ko-KR" altLang="en-US" dirty="0"/>
              <a:t>은 티켓번호</a:t>
            </a:r>
            <a:r>
              <a:rPr kumimoji="1" lang="en-US" altLang="ko-KR" dirty="0"/>
              <a:t>, fare</a:t>
            </a:r>
            <a:r>
              <a:rPr kumimoji="1" lang="ko-KR" altLang="en-US" dirty="0"/>
              <a:t>은 </a:t>
            </a:r>
            <a:r>
              <a:rPr kumimoji="1" lang="ko-KR" altLang="en-US" dirty="0" err="1"/>
              <a:t>운임료</a:t>
            </a:r>
            <a:r>
              <a:rPr kumimoji="1" lang="en-US" altLang="ko-KR" dirty="0"/>
              <a:t>, cabin</a:t>
            </a:r>
            <a:r>
              <a:rPr kumimoji="1" lang="ko-KR" altLang="en-US" dirty="0"/>
              <a:t>은 탑승한 선실번호</a:t>
            </a:r>
            <a:r>
              <a:rPr kumimoji="1" lang="en-US" altLang="ko-KR" dirty="0"/>
              <a:t>, </a:t>
            </a:r>
            <a:r>
              <a:rPr kumimoji="1" lang="en-US" altLang="ko-KR" dirty="0" err="1"/>
              <a:t>embarke</a:t>
            </a:r>
            <a:r>
              <a:rPr kumimoji="1" lang="ko-KR" altLang="en-US" dirty="0"/>
              <a:t>는 탑승한 항구의 이름을 의미합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49323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을 진행하기위해 </a:t>
            </a:r>
            <a:r>
              <a:rPr kumimoji="1" lang="en-US" altLang="ko-KR" dirty="0" err="1"/>
              <a:t>kaggle</a:t>
            </a:r>
            <a:r>
              <a:rPr kumimoji="1" lang="ko-KR" altLang="en-US" dirty="0"/>
              <a:t>에 접속 후 로그인 해주십시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892106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왼쪽 상단의 </a:t>
            </a:r>
            <a:r>
              <a:rPr kumimoji="1" lang="en-US" altLang="ko-KR" dirty="0"/>
              <a:t>+ </a:t>
            </a:r>
            <a:r>
              <a:rPr kumimoji="1" lang="ko-KR" altLang="en-US" dirty="0"/>
              <a:t>아이콘을 이용하여 </a:t>
            </a:r>
            <a:r>
              <a:rPr kumimoji="1" lang="en-US" altLang="ko-KR" dirty="0"/>
              <a:t>Kaggle notebook</a:t>
            </a:r>
            <a:r>
              <a:rPr kumimoji="1" lang="ko-KR" altLang="en-US" dirty="0"/>
              <a:t>을 생성 할 수 있는데</a:t>
            </a:r>
            <a:r>
              <a:rPr kumimoji="1" lang="en-US" altLang="ko-KR" dirty="0"/>
              <a:t>,</a:t>
            </a:r>
          </a:p>
          <a:p>
            <a:endParaRPr kumimoji="1" lang="en-US" altLang="ko-KR" dirty="0"/>
          </a:p>
          <a:p>
            <a:r>
              <a:rPr kumimoji="1" lang="ko-KR" altLang="en-US" dirty="0"/>
              <a:t>제가 미리 작성해둔 코드를 실행해가며 실습 진행하겠습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2947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 err="1"/>
              <a:t>캐글</a:t>
            </a:r>
            <a:r>
              <a:rPr kumimoji="1" lang="ko-KR" altLang="en-US" dirty="0"/>
              <a:t> 홈페이지 처음으로 돌아가 </a:t>
            </a:r>
            <a:r>
              <a:rPr kumimoji="1" lang="en-US" altLang="ko-KR" dirty="0" err="1"/>
              <a:t>jiyeong</a:t>
            </a:r>
            <a:r>
              <a:rPr kumimoji="1" lang="en-US" altLang="ko-KR" dirty="0"/>
              <a:t> </a:t>
            </a:r>
            <a:r>
              <a:rPr kumimoji="1" lang="en-US" altLang="ko-KR" dirty="0" err="1"/>
              <a:t>Yim</a:t>
            </a:r>
            <a:r>
              <a:rPr kumimoji="1" lang="ko-KR" altLang="en-US" dirty="0"/>
              <a:t>을 검색 후에 재직자대상</a:t>
            </a:r>
            <a:r>
              <a:rPr kumimoji="1" lang="en-US" altLang="ko-KR" dirty="0"/>
              <a:t>-</a:t>
            </a:r>
            <a:r>
              <a:rPr kumimoji="1" lang="ko-KR" altLang="en-US" dirty="0"/>
              <a:t>초급</a:t>
            </a:r>
            <a:r>
              <a:rPr kumimoji="1" lang="en-US" altLang="ko-KR" dirty="0"/>
              <a:t>1 </a:t>
            </a:r>
            <a:r>
              <a:rPr kumimoji="1" lang="ko-KR" altLang="en-US" dirty="0"/>
              <a:t>코드를 선택해주세요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3797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오른쪽 상단에 </a:t>
            </a:r>
            <a:r>
              <a:rPr kumimoji="1" lang="en-US" altLang="ko-KR" dirty="0"/>
              <a:t>Edit </a:t>
            </a:r>
            <a:r>
              <a:rPr kumimoji="1" lang="ko-KR" altLang="en-US" dirty="0"/>
              <a:t>옆 점 </a:t>
            </a:r>
            <a:r>
              <a:rPr kumimoji="1" lang="ko-KR" altLang="en-US" dirty="0" err="1"/>
              <a:t>세개</a:t>
            </a:r>
            <a:r>
              <a:rPr kumimoji="1" lang="ko-KR" altLang="en-US" dirty="0"/>
              <a:t> 메뉴를 클릭 후 </a:t>
            </a:r>
            <a:r>
              <a:rPr kumimoji="1" lang="en-US" altLang="ko-KR" dirty="0"/>
              <a:t>Copy &amp; edit </a:t>
            </a:r>
            <a:r>
              <a:rPr kumimoji="1" lang="en-US" altLang="ko-KR" dirty="0" err="1"/>
              <a:t>noteboo</a:t>
            </a:r>
            <a:r>
              <a:rPr kumimoji="1" lang="ko-KR" altLang="en-US" dirty="0"/>
              <a:t>을 클릭해주세요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그러면 </a:t>
            </a:r>
            <a:r>
              <a:rPr kumimoji="1" lang="en-US" altLang="ko-KR" dirty="0"/>
              <a:t>public</a:t>
            </a:r>
            <a:r>
              <a:rPr kumimoji="1" lang="ko-KR" altLang="en-US" dirty="0"/>
              <a:t>으로 공유된 파일을 내 노트북에서 실행 할 수 있습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646533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우선 타이타닉 데이터를 불러오겠습니다</a:t>
            </a:r>
            <a:r>
              <a:rPr kumimoji="1" lang="en-US" altLang="ko-KR" dirty="0"/>
              <a:t>.</a:t>
            </a:r>
          </a:p>
          <a:p>
            <a:r>
              <a:rPr kumimoji="1" lang="en-US" altLang="ko-KR" dirty="0"/>
              <a:t>Kaggle notebook</a:t>
            </a:r>
            <a:r>
              <a:rPr kumimoji="1" lang="ko-KR" altLang="en-US" dirty="0"/>
              <a:t>의 장점은 </a:t>
            </a:r>
            <a:r>
              <a:rPr kumimoji="1" lang="en-US" altLang="ko-KR" dirty="0" err="1"/>
              <a:t>kaggle</a:t>
            </a:r>
            <a:r>
              <a:rPr kumimoji="1" lang="ko-KR" altLang="en-US" dirty="0"/>
              <a:t>에 사용되는 데이터를 다운로드 없이 바로 사용 할 수 있다는 </a:t>
            </a:r>
            <a:r>
              <a:rPr kumimoji="1" lang="ko-KR" altLang="en-US" dirty="0" err="1"/>
              <a:t>것이였습니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오른쪽 상단 화살표를 클릭하여 사이드바를 </a:t>
            </a:r>
            <a:r>
              <a:rPr kumimoji="1" lang="ko-KR" altLang="en-US" dirty="0" err="1"/>
              <a:t>활성시켜줍니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제가 공유한 노트북에 데이터가 </a:t>
            </a:r>
            <a:r>
              <a:rPr kumimoji="1" lang="ko-KR" altLang="en-US" dirty="0" err="1"/>
              <a:t>포함되어있었기</a:t>
            </a:r>
            <a:r>
              <a:rPr kumimoji="1" lang="ko-KR" altLang="en-US" dirty="0"/>
              <a:t> 때문에 이미 </a:t>
            </a:r>
            <a:r>
              <a:rPr kumimoji="1" lang="en-US" altLang="ko-KR" dirty="0"/>
              <a:t>input</a:t>
            </a:r>
            <a:r>
              <a:rPr kumimoji="1" lang="ko-KR" altLang="en-US" dirty="0"/>
              <a:t>에</a:t>
            </a:r>
            <a:r>
              <a:rPr kumimoji="1" lang="en-US" altLang="ko-KR" dirty="0"/>
              <a:t> titanic </a:t>
            </a:r>
            <a:r>
              <a:rPr kumimoji="1" lang="ko-KR" altLang="en-US" dirty="0"/>
              <a:t>데이터가 들어있는데</a:t>
            </a:r>
            <a:r>
              <a:rPr kumimoji="1" lang="en-US" altLang="ko-KR" dirty="0"/>
              <a:t>,</a:t>
            </a:r>
          </a:p>
          <a:p>
            <a:r>
              <a:rPr kumimoji="1" lang="en-US" altLang="ko-KR" dirty="0"/>
              <a:t>Add</a:t>
            </a:r>
            <a:r>
              <a:rPr kumimoji="1" lang="ko-KR" altLang="en-US" dirty="0"/>
              <a:t> </a:t>
            </a:r>
            <a:r>
              <a:rPr kumimoji="1" lang="en-US" altLang="ko-KR" dirty="0"/>
              <a:t>data</a:t>
            </a:r>
            <a:r>
              <a:rPr kumimoji="1" lang="ko-KR" altLang="en-US" dirty="0"/>
              <a:t>를 클릭하면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28203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Kaggle</a:t>
            </a:r>
            <a:r>
              <a:rPr kumimoji="1" lang="ko-KR" altLang="en-US" dirty="0"/>
              <a:t>에 실제 있는 데이터를 추가 </a:t>
            </a:r>
            <a:r>
              <a:rPr kumimoji="1" lang="ko-KR" altLang="en-US" dirty="0" err="1"/>
              <a:t>할수도</a:t>
            </a:r>
            <a:r>
              <a:rPr kumimoji="1" lang="ko-KR" altLang="en-US" dirty="0"/>
              <a:t> 있고 </a:t>
            </a:r>
            <a:r>
              <a:rPr kumimoji="1" lang="en-US" altLang="ko-KR" dirty="0"/>
              <a:t>upload </a:t>
            </a:r>
            <a:r>
              <a:rPr kumimoji="1" lang="ko-KR" altLang="en-US" dirty="0"/>
              <a:t>버튼을 이용하여 내가 </a:t>
            </a:r>
            <a:r>
              <a:rPr kumimoji="1" lang="ko-KR" altLang="en-US" dirty="0" err="1"/>
              <a:t>가지고있는</a:t>
            </a:r>
            <a:r>
              <a:rPr kumimoji="1" lang="ko-KR" altLang="en-US" dirty="0"/>
              <a:t> 데이터를 사용 할 수 도 있습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445859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불러온 </a:t>
            </a:r>
            <a:r>
              <a:rPr kumimoji="1" lang="en-US" altLang="ko-KR" dirty="0"/>
              <a:t>Titanic </a:t>
            </a:r>
            <a:r>
              <a:rPr kumimoji="1" lang="ko-KR" altLang="en-US" dirty="0"/>
              <a:t>데이터 안에는 세가지 파일이 있습니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훈련용 파일인 </a:t>
            </a:r>
            <a:r>
              <a:rPr kumimoji="1" lang="en-US" altLang="ko-KR" dirty="0"/>
              <a:t>train.csv</a:t>
            </a:r>
            <a:r>
              <a:rPr kumimoji="1" lang="ko-KR" altLang="en-US" dirty="0"/>
              <a:t>파일과 테스트용 파일인 </a:t>
            </a:r>
            <a:r>
              <a:rPr kumimoji="1" lang="en-US" altLang="ko-KR" dirty="0"/>
              <a:t>test.csv</a:t>
            </a:r>
            <a:r>
              <a:rPr kumimoji="1" lang="ko-KR" altLang="en-US" dirty="0"/>
              <a:t>파일이 존재하고</a:t>
            </a:r>
            <a:endParaRPr kumimoji="1" lang="en-US" altLang="ko-KR" dirty="0"/>
          </a:p>
          <a:p>
            <a:r>
              <a:rPr kumimoji="1" lang="en-US" altLang="ko-KR" dirty="0"/>
              <a:t>Gender_submission.csv </a:t>
            </a:r>
            <a:r>
              <a:rPr kumimoji="1" lang="ko-KR" altLang="en-US" dirty="0"/>
              <a:t>파일은 경진대회의 목적인 생존여부 예측 후 결과제출을 위한 파일입니다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  <a:p>
            <a:r>
              <a:rPr kumimoji="1" lang="ko-KR" altLang="en-US" dirty="0"/>
              <a:t>저희는 데이터 분석 및 시각화를 위해 </a:t>
            </a:r>
            <a:r>
              <a:rPr kumimoji="1" lang="en-US" altLang="ko-KR" dirty="0"/>
              <a:t>trainc.csv </a:t>
            </a:r>
            <a:r>
              <a:rPr kumimoji="1" lang="ko-KR" altLang="en-US" dirty="0"/>
              <a:t>파일을 이용 할 것입니다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617689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다시 코드를 </a:t>
            </a:r>
            <a:r>
              <a:rPr kumimoji="1" lang="ko-KR" altLang="en-US" dirty="0" err="1"/>
              <a:t>봐볼게요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셀 실행 단축키는 </a:t>
            </a:r>
            <a:r>
              <a:rPr kumimoji="1" lang="en-US" altLang="ko-KR" dirty="0" err="1"/>
              <a:t>shift+enter</a:t>
            </a:r>
            <a:r>
              <a:rPr kumimoji="1" lang="ko-KR" altLang="en-US" dirty="0"/>
              <a:t>입니다</a:t>
            </a:r>
            <a:r>
              <a:rPr kumimoji="1" lang="en-US" altLang="ko-KR" dirty="0"/>
              <a:t>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2358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Kaggle</a:t>
            </a:r>
            <a:r>
              <a:rPr lang="ko-KR" altLang="en-US" dirty="0"/>
              <a:t>에 익숙하지 않으신 분도 </a:t>
            </a:r>
            <a:r>
              <a:rPr lang="ko-KR" altLang="en-US" dirty="0" err="1"/>
              <a:t>계신것</a:t>
            </a:r>
            <a:r>
              <a:rPr lang="ko-KR" altLang="en-US" dirty="0"/>
              <a:t> 같고</a:t>
            </a:r>
            <a:r>
              <a:rPr lang="en-US" altLang="ko-KR" dirty="0"/>
              <a:t>, 1</a:t>
            </a:r>
            <a:r>
              <a:rPr lang="ko-KR" altLang="en-US" dirty="0"/>
              <a:t>번 이상 경험 해보신 분도 있는 것 같아요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번 실습은 </a:t>
            </a:r>
            <a:r>
              <a:rPr lang="ko-KR" altLang="en-US" dirty="0" err="1"/>
              <a:t>머신러닝에대한</a:t>
            </a:r>
            <a:r>
              <a:rPr lang="ko-KR" altLang="en-US" dirty="0"/>
              <a:t> 경험이 없는 분들이 데이터분석부터 간단한모델 학습까지 </a:t>
            </a:r>
            <a:endParaRPr lang="en-US" altLang="ko-KR" dirty="0"/>
          </a:p>
          <a:p>
            <a:r>
              <a:rPr lang="ko-KR" altLang="en-US" dirty="0"/>
              <a:t>빠르게 접해볼 수 있도록 구성되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보통 </a:t>
            </a:r>
            <a:r>
              <a:rPr lang="ko-KR" altLang="en-US" dirty="0" err="1"/>
              <a:t>머신러닝과</a:t>
            </a:r>
            <a:r>
              <a:rPr lang="ko-KR" altLang="en-US" dirty="0"/>
              <a:t> 데이터분석은 아나콘다라는 파이썬 </a:t>
            </a:r>
            <a:r>
              <a:rPr lang="ko-KR" altLang="en-US" dirty="0" err="1"/>
              <a:t>배포판를</a:t>
            </a:r>
            <a:r>
              <a:rPr lang="ko-KR" altLang="en-US" dirty="0"/>
              <a:t> 설치하여 진행됩니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하지만 이번에는 환경 및 기본패키지들이 미리 </a:t>
            </a:r>
            <a:r>
              <a:rPr lang="ko-KR" altLang="en-US" dirty="0" err="1"/>
              <a:t>설치되어있는</a:t>
            </a:r>
            <a:endParaRPr lang="en-US" altLang="ko-KR" dirty="0"/>
          </a:p>
          <a:p>
            <a:r>
              <a:rPr lang="en-US" altLang="ko-KR" dirty="0"/>
              <a:t>Kaggle </a:t>
            </a:r>
            <a:r>
              <a:rPr lang="ko-KR" altLang="en-US" dirty="0"/>
              <a:t>노트북을 사용하여 실습이 진행 될 것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 실습이 끝난 후에는 주어진 데이터를 빠르게 분석 및 시각화 할 수 있고</a:t>
            </a:r>
            <a:r>
              <a:rPr lang="en-US" altLang="ko-KR" dirty="0"/>
              <a:t>,</a:t>
            </a:r>
          </a:p>
          <a:p>
            <a:r>
              <a:rPr lang="ko-KR" altLang="en-US" dirty="0" err="1"/>
              <a:t>머신러닝</a:t>
            </a:r>
            <a:r>
              <a:rPr lang="ko-KR" altLang="en-US" dirty="0"/>
              <a:t> 및 시각화에 필요한 다양한 라이브러리들을 이해하고 활용 할 수 있었으면 좋겠습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27134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64178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983545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882858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845397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637763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742246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694590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84861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  <a:p>
            <a:r>
              <a:rPr kumimoji="1" lang="en-US" altLang="ko-KR" dirty="0"/>
              <a:t>-&gt; </a:t>
            </a:r>
            <a:r>
              <a:rPr kumimoji="1" lang="ko-KR" altLang="en-US" dirty="0"/>
              <a:t>시각화 후 데이터분석을 통해 </a:t>
            </a:r>
            <a:r>
              <a:rPr kumimoji="1" lang="ko-KR" altLang="en-US" dirty="0" err="1"/>
              <a:t>결측치</a:t>
            </a:r>
            <a:r>
              <a:rPr kumimoji="1" lang="ko-KR" altLang="en-US" dirty="0"/>
              <a:t> 채울 것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73260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실습하면서 진행</a:t>
            </a:r>
            <a:endParaRPr kumimoji="1" lang="en-US" altLang="ko-KR" dirty="0"/>
          </a:p>
          <a:p>
            <a:r>
              <a:rPr kumimoji="1" lang="en-US" altLang="ko-KR" dirty="0"/>
              <a:t>-&gt; </a:t>
            </a:r>
            <a:r>
              <a:rPr kumimoji="1" lang="ko-KR" altLang="en-US" dirty="0"/>
              <a:t>시각화 후 데이터분석을 통해 </a:t>
            </a:r>
            <a:r>
              <a:rPr kumimoji="1" lang="ko-KR" altLang="en-US" dirty="0" err="1"/>
              <a:t>결측치</a:t>
            </a:r>
            <a:r>
              <a:rPr kumimoji="1" lang="ko-KR" altLang="en-US" dirty="0"/>
              <a:t> 채울 것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2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41008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kumimoji="1" lang="ko-KR" altLang="en-US" dirty="0"/>
              <a:t>먼저 </a:t>
            </a:r>
            <a:r>
              <a:rPr kumimoji="1" lang="en-US" altLang="ko-KR" dirty="0"/>
              <a:t>Kaggle, pandas, </a:t>
            </a:r>
            <a:r>
              <a:rPr kumimoji="1" lang="en-US" altLang="ko-KR" dirty="0" err="1"/>
              <a:t>numpy</a:t>
            </a:r>
            <a:r>
              <a:rPr kumimoji="1" lang="en-US" altLang="ko-KR" dirty="0"/>
              <a:t>, matplotlib </a:t>
            </a:r>
            <a:r>
              <a:rPr kumimoji="1" lang="ko-KR" altLang="en-US" dirty="0"/>
              <a:t>가 각각 무엇인지 간략하게 설명해드리겠습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kumimoji="1" lang="en-US" altLang="ko-KR" dirty="0"/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Kaggle</a:t>
            </a:r>
            <a:r>
              <a:rPr kumimoji="1" lang="ko-KR" altLang="en-US" dirty="0"/>
              <a:t>은</a:t>
            </a:r>
            <a:r>
              <a:rPr kumimoji="1" lang="en-US" altLang="ko-KR" dirty="0"/>
              <a:t> </a:t>
            </a:r>
            <a:r>
              <a:rPr kumimoji="1" lang="ko-KR" altLang="en-US" dirty="0"/>
              <a:t>세계적인 </a:t>
            </a:r>
            <a:r>
              <a:rPr kumimoji="1" lang="ko-KR" altLang="en-US" dirty="0" err="1"/>
              <a:t>데이터사이언스</a:t>
            </a:r>
            <a:r>
              <a:rPr kumimoji="1" lang="ko-KR" altLang="en-US" dirty="0"/>
              <a:t> 경진대회 플랫폼임과 동시에 많은 데이터셋을 제공하고 있습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Kaggle</a:t>
            </a:r>
            <a:r>
              <a:rPr kumimoji="1" lang="ko-KR" altLang="en-US" dirty="0" err="1"/>
              <a:t>을통해서</a:t>
            </a:r>
            <a:r>
              <a:rPr kumimoji="1" lang="ko-KR" altLang="en-US" dirty="0"/>
              <a:t> 다양한 경진대회에 도전 할 수 있고</a:t>
            </a:r>
            <a:r>
              <a:rPr kumimoji="1" lang="en-US" altLang="ko-KR" dirty="0"/>
              <a:t>, </a:t>
            </a:r>
            <a:r>
              <a:rPr kumimoji="1" lang="ko-KR" altLang="en-US" dirty="0"/>
              <a:t>다양한 코드 공유 또한 가능합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Kaggle</a:t>
            </a:r>
            <a:r>
              <a:rPr kumimoji="1" lang="ko-KR" altLang="en-US" dirty="0"/>
              <a:t>에서 제공하는 </a:t>
            </a:r>
            <a:r>
              <a:rPr kumimoji="1" lang="en-US" altLang="ko-KR" dirty="0"/>
              <a:t>Kaggle </a:t>
            </a:r>
            <a:r>
              <a:rPr kumimoji="1" lang="ko-KR" altLang="en-US" dirty="0"/>
              <a:t>노트북을 이용하면</a:t>
            </a:r>
            <a:r>
              <a:rPr kumimoji="1" lang="en-US" altLang="ko-KR" dirty="0"/>
              <a:t>, </a:t>
            </a:r>
            <a:r>
              <a:rPr kumimoji="1" lang="en-US" altLang="ko-KR" dirty="0" err="1"/>
              <a:t>kaggle</a:t>
            </a:r>
            <a:r>
              <a:rPr kumimoji="1" lang="ko-KR" altLang="en-US" dirty="0"/>
              <a:t>에서 제공하는 데이터를 다운로드 없이 바로 사용 가능하고</a:t>
            </a:r>
            <a:r>
              <a:rPr kumimoji="1" lang="en-US" altLang="ko-KR" dirty="0"/>
              <a:t>,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ko-KR" altLang="en-US" dirty="0"/>
              <a:t>기본적인 패키지들도 </a:t>
            </a:r>
            <a:r>
              <a:rPr kumimoji="1" lang="ko-KR" altLang="en-US" dirty="0" err="1"/>
              <a:t>설치되어있어</a:t>
            </a:r>
            <a:r>
              <a:rPr kumimoji="1" lang="ko-KR" altLang="en-US" dirty="0"/>
              <a:t> 쉽고 빠르게 코드 작성이 가능합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kumimoji="1" lang="en-US" altLang="ko-KR" dirty="0"/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 err="1"/>
              <a:t>Numpy</a:t>
            </a:r>
            <a:r>
              <a:rPr kumimoji="1" lang="ko-KR" altLang="en-US" dirty="0"/>
              <a:t>는 파이썬 라이브러리로 </a:t>
            </a:r>
            <a:r>
              <a:rPr kumimoji="1" lang="ko-KR" altLang="en-US" dirty="0" err="1"/>
              <a:t>과학계산을위해</a:t>
            </a:r>
            <a:r>
              <a:rPr kumimoji="1" lang="ko-KR" altLang="en-US" dirty="0"/>
              <a:t> 꼭 필요한 패키지입니다</a:t>
            </a:r>
            <a:r>
              <a:rPr kumimoji="1" lang="en-US" altLang="ko-KR" dirty="0"/>
              <a:t>. </a:t>
            </a:r>
            <a:r>
              <a:rPr kumimoji="1" lang="ko-KR" altLang="en-US" dirty="0"/>
              <a:t>다차원배열을 위한 기능과 선형대수연산</a:t>
            </a:r>
            <a:r>
              <a:rPr kumimoji="1" lang="en-US" altLang="ko-KR" dirty="0"/>
              <a:t>, </a:t>
            </a:r>
            <a:r>
              <a:rPr kumimoji="1" lang="ko-KR" altLang="en-US" dirty="0" err="1"/>
              <a:t>푸리에변환같은</a:t>
            </a:r>
            <a:r>
              <a:rPr kumimoji="1" lang="ko-KR" altLang="en-US" dirty="0"/>
              <a:t> 고수준의 수학함수와 </a:t>
            </a:r>
            <a:r>
              <a:rPr kumimoji="1" lang="ko-KR" altLang="en-US" dirty="0" err="1"/>
              <a:t>유사난수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생성기등을</a:t>
            </a:r>
            <a:r>
              <a:rPr kumimoji="1" lang="ko-KR" altLang="en-US" dirty="0"/>
              <a:t> 포함합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*</a:t>
            </a:r>
            <a:r>
              <a:rPr kumimoji="1" lang="ko-KR" altLang="en-US" dirty="0" err="1"/>
              <a:t>유사난수란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초깃값을</a:t>
            </a:r>
            <a:r>
              <a:rPr kumimoji="1" lang="ko-KR" altLang="en-US" dirty="0"/>
              <a:t> 이용하여 이미 </a:t>
            </a:r>
            <a:r>
              <a:rPr kumimoji="1" lang="ko-KR" altLang="en-US" dirty="0" err="1"/>
              <a:t>결정되어있는</a:t>
            </a:r>
            <a:r>
              <a:rPr kumimoji="1" lang="ko-KR" altLang="en-US" dirty="0"/>
              <a:t> 메커니즘에 의해 생성되는 난수로</a:t>
            </a:r>
            <a:r>
              <a:rPr kumimoji="1" lang="en-US" altLang="ko-KR" dirty="0"/>
              <a:t>, </a:t>
            </a:r>
            <a:r>
              <a:rPr kumimoji="1" lang="ko-KR" altLang="en-US" dirty="0"/>
              <a:t>초기값을 알면 언제든 같은 값의 난수를 만들어 낼 수 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kumimoji="1" lang="en-US" altLang="ko-KR" dirty="0"/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Matplotlib</a:t>
            </a:r>
            <a:r>
              <a:rPr kumimoji="1" lang="ko-KR" altLang="en-US" dirty="0"/>
              <a:t>는 </a:t>
            </a:r>
            <a:r>
              <a:rPr kumimoji="1" lang="ko-KR" altLang="en-US" dirty="0" err="1"/>
              <a:t>파이썬의</a:t>
            </a:r>
            <a:r>
              <a:rPr kumimoji="1" lang="ko-KR" altLang="en-US" dirty="0"/>
              <a:t> 대표적인 그래프 라이브러리 입니다</a:t>
            </a:r>
            <a:r>
              <a:rPr kumimoji="1" lang="en-US" altLang="ko-KR" dirty="0"/>
              <a:t>. </a:t>
            </a:r>
            <a:r>
              <a:rPr kumimoji="1" lang="ko-KR" altLang="en-US" dirty="0"/>
              <a:t>데이터와 분석결과를 시각화하기 위해 사용됩니다</a:t>
            </a:r>
            <a:r>
              <a:rPr kumimoji="1" lang="en-US" altLang="ko-KR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kumimoji="1" lang="en-US" altLang="ko-KR" dirty="0"/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ko-KR" dirty="0"/>
              <a:t>Pandas</a:t>
            </a:r>
            <a:r>
              <a:rPr kumimoji="1" lang="ko-KR" altLang="en-US" dirty="0"/>
              <a:t>는 데이터처리와 분석을 위한 파이썬 라이브러리입니다</a:t>
            </a:r>
            <a:r>
              <a:rPr kumimoji="1" lang="en-US" altLang="ko-KR" dirty="0"/>
              <a:t>. </a:t>
            </a:r>
            <a:r>
              <a:rPr kumimoji="1" lang="ko-KR" altLang="en-US" dirty="0"/>
              <a:t>엑셀의 스프레드시트와 비슷한 테이블 형태인 </a:t>
            </a:r>
            <a:r>
              <a:rPr kumimoji="1" lang="en-US" altLang="ko-KR" dirty="0" err="1"/>
              <a:t>dataframe</a:t>
            </a:r>
            <a:r>
              <a:rPr kumimoji="1" lang="en-US" altLang="ko-KR" dirty="0"/>
              <a:t> </a:t>
            </a:r>
            <a:r>
              <a:rPr kumimoji="1" lang="ko-KR" altLang="en-US" dirty="0"/>
              <a:t>이라는 데이터구조를 기반으로 </a:t>
            </a:r>
            <a:r>
              <a:rPr kumimoji="1" lang="ko-KR" altLang="en-US" dirty="0" err="1"/>
              <a:t>만들어져있습니다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742994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Figure : </a:t>
            </a:r>
            <a:r>
              <a:rPr kumimoji="1" lang="ko-KR" altLang="en-US" dirty="0"/>
              <a:t>공간정의</a:t>
            </a:r>
            <a:endParaRPr kumimoji="1" lang="en-US" altLang="ko-KR" dirty="0"/>
          </a:p>
          <a:p>
            <a:r>
              <a:rPr kumimoji="1" lang="en-US" altLang="ko-KR" dirty="0"/>
              <a:t>Ax = </a:t>
            </a:r>
            <a:r>
              <a:rPr kumimoji="1" lang="en-US" altLang="ko-KR" dirty="0" err="1"/>
              <a:t>Fig.add_subplot</a:t>
            </a:r>
            <a:r>
              <a:rPr kumimoji="1" lang="en-US" altLang="ko-KR" dirty="0"/>
              <a:t>() : </a:t>
            </a:r>
            <a:r>
              <a:rPr kumimoji="1" lang="ko-KR" altLang="en-US" dirty="0"/>
              <a:t>축 정의</a:t>
            </a:r>
            <a:endParaRPr kumimoji="1" lang="en-US" altLang="ko-KR" dirty="0"/>
          </a:p>
          <a:p>
            <a:r>
              <a:rPr kumimoji="1" lang="en-US" altLang="ko-KR" dirty="0" err="1"/>
              <a:t>Sns</a:t>
            </a:r>
            <a:r>
              <a:rPr kumimoji="1" lang="ko-KR" altLang="en-US" dirty="0"/>
              <a:t>라이브러리 이용하여 </a:t>
            </a:r>
            <a:r>
              <a:rPr kumimoji="1" lang="ko-KR" altLang="en-US" dirty="0" err="1"/>
              <a:t>그래프그리기</a:t>
            </a:r>
            <a:endParaRPr kumimoji="1" lang="en-US" altLang="ko-KR" dirty="0"/>
          </a:p>
          <a:p>
            <a:r>
              <a:rPr kumimoji="1" lang="en-US" altLang="ko-KR" dirty="0"/>
              <a:t>show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008333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Training </a:t>
            </a:r>
            <a:r>
              <a:rPr kumimoji="1" lang="ko-KR" altLang="en-US" dirty="0"/>
              <a:t>데이터세트에 있는 </a:t>
            </a:r>
            <a:r>
              <a:rPr kumimoji="1" lang="en-US" altLang="ko-KR" dirty="0"/>
              <a:t>62%</a:t>
            </a:r>
            <a:r>
              <a:rPr kumimoji="1" lang="ko-KR" altLang="en-US" dirty="0"/>
              <a:t>의 승객은 살아남지 못한 것</a:t>
            </a:r>
            <a:r>
              <a:rPr kumimoji="1" lang="en-US" altLang="ko-KR" dirty="0"/>
              <a:t>(label</a:t>
            </a:r>
            <a:r>
              <a:rPr kumimoji="1" lang="ko-KR" altLang="en-US" dirty="0"/>
              <a:t> </a:t>
            </a:r>
            <a:r>
              <a:rPr kumimoji="1" lang="en-US" altLang="ko-KR" dirty="0"/>
              <a:t>:</a:t>
            </a:r>
            <a:r>
              <a:rPr kumimoji="1" lang="ko-KR" altLang="en-US" dirty="0"/>
              <a:t> </a:t>
            </a:r>
            <a:r>
              <a:rPr kumimoji="1" lang="en-US" altLang="ko-KR" dirty="0"/>
              <a:t>0)</a:t>
            </a:r>
            <a:r>
              <a:rPr kumimoji="1" lang="ko-KR" altLang="en-US" dirty="0"/>
              <a:t>으로 보인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데이터세트의 성별</a:t>
            </a:r>
            <a:r>
              <a:rPr kumimoji="1" lang="en-US" altLang="ko-KR" dirty="0"/>
              <a:t>, </a:t>
            </a:r>
            <a:r>
              <a:rPr kumimoji="1" lang="ko-KR" altLang="en-US" dirty="0" err="1"/>
              <a:t>출항항</a:t>
            </a:r>
            <a:r>
              <a:rPr kumimoji="1" lang="en-US" altLang="ko-KR" dirty="0"/>
              <a:t>, </a:t>
            </a:r>
            <a:r>
              <a:rPr kumimoji="1" lang="ko-KR" altLang="en-US" dirty="0"/>
              <a:t>연령 등 다양한 정보를 활용하여 생존율을 확인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2445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277780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49987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/>
              <a:t>알 수 있는 점 </a:t>
            </a:r>
            <a:r>
              <a:rPr kumimoji="1" lang="en-US" altLang="ko-KR" dirty="0"/>
              <a:t>: </a:t>
            </a:r>
            <a:r>
              <a:rPr kumimoji="1" lang="ko-KR" altLang="en-US" dirty="0"/>
              <a:t>배에 탑승한 탑승자의 수는 남성의 훨씬 많지만</a:t>
            </a:r>
            <a:r>
              <a:rPr kumimoji="1" lang="en-US" altLang="ko-KR" dirty="0"/>
              <a:t>, </a:t>
            </a:r>
            <a:r>
              <a:rPr kumimoji="1" lang="ko-KR" altLang="en-US" dirty="0"/>
              <a:t>구조된 탑승자의 수는 거의 남성의 두배이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 err="1"/>
              <a:t>배에탄</a:t>
            </a:r>
            <a:r>
              <a:rPr kumimoji="1" lang="ko-KR" altLang="en-US" dirty="0"/>
              <a:t> 여성의 생존율은 약 </a:t>
            </a:r>
            <a:r>
              <a:rPr kumimoji="1" lang="en-US" altLang="ko-KR" dirty="0"/>
              <a:t>75%</a:t>
            </a:r>
            <a:r>
              <a:rPr kumimoji="1" lang="ko-KR" altLang="en-US" dirty="0"/>
              <a:t>인 반면</a:t>
            </a:r>
            <a:r>
              <a:rPr kumimoji="1" lang="en-US" altLang="ko-KR" dirty="0"/>
              <a:t>, </a:t>
            </a:r>
            <a:r>
              <a:rPr kumimoji="1" lang="ko-KR" altLang="en-US" dirty="0"/>
              <a:t>남성의 생존율은 약 </a:t>
            </a:r>
            <a:r>
              <a:rPr kumimoji="1" lang="en-US" altLang="ko-KR" dirty="0"/>
              <a:t>18%</a:t>
            </a:r>
            <a:r>
              <a:rPr kumimoji="1" lang="ko-KR" altLang="en-US" dirty="0"/>
              <a:t>에 불과하다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274795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는 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1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급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2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급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3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급 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ordinal(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순서가 있는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) data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rosstab</a:t>
            </a:r>
            <a:r>
              <a:rPr lang="ko-KR" altLang="en-US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을 이용하여 데이터를 시각화 할 수 있다</a:t>
            </a:r>
            <a:r>
              <a:rPr lang="en-US" altLang="ko-KR" sz="12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375573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849101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7743499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24710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3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5276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43563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18477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Age</a:t>
            </a:r>
            <a:r>
              <a:rPr kumimoji="1" lang="ko-KR" altLang="en-US" dirty="0"/>
              <a:t>에는 </a:t>
            </a:r>
            <a:r>
              <a:rPr kumimoji="1" lang="en-US" altLang="ko-KR" dirty="0"/>
              <a:t>null</a:t>
            </a:r>
            <a:r>
              <a:rPr kumimoji="1" lang="ko-KR" altLang="en-US" dirty="0"/>
              <a:t>값이 있어서 </a:t>
            </a:r>
            <a:r>
              <a:rPr kumimoji="1" lang="ko-KR" altLang="en-US" dirty="0" err="1"/>
              <a:t>채워주어야함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4417797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03322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8303127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8339181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265677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8750835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995592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557065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4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1457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SVM</a:t>
            </a:r>
            <a:r>
              <a:rPr kumimoji="1" lang="ko-KR" altLang="en-US" dirty="0"/>
              <a:t>은 클래스를 구분하는 분류문제에서</a:t>
            </a:r>
            <a:r>
              <a:rPr kumimoji="1" lang="en-US" altLang="ko-KR" dirty="0"/>
              <a:t>, </a:t>
            </a:r>
            <a:r>
              <a:rPr kumimoji="1" lang="ko-KR" altLang="en-US" dirty="0"/>
              <a:t>각 클래스를 잘 구분하는 선을 그어주는 방식이다</a:t>
            </a:r>
            <a:r>
              <a:rPr kumimoji="1" lang="en-US" altLang="ko-KR" dirty="0"/>
              <a:t>. </a:t>
            </a:r>
          </a:p>
          <a:p>
            <a:r>
              <a:rPr kumimoji="1" lang="en-US" altLang="ko-KR" dirty="0"/>
              <a:t>(</a:t>
            </a:r>
            <a:r>
              <a:rPr kumimoji="1" lang="ko-KR" altLang="en-US" dirty="0"/>
              <a:t>여기서는 사망</a:t>
            </a:r>
            <a:r>
              <a:rPr kumimoji="1" lang="en-US" altLang="ko-KR" dirty="0"/>
              <a:t>/</a:t>
            </a:r>
            <a:r>
              <a:rPr kumimoji="1" lang="ko-KR" altLang="en-US" dirty="0"/>
              <a:t>생존</a:t>
            </a:r>
            <a:r>
              <a:rPr kumimoji="1" lang="en-US" altLang="ko-KR" dirty="0"/>
              <a:t>)</a:t>
            </a:r>
          </a:p>
          <a:p>
            <a:r>
              <a:rPr kumimoji="1" lang="ko-KR" altLang="en-US" dirty="0"/>
              <a:t>가장 가까이 있는 점들을 </a:t>
            </a:r>
            <a:r>
              <a:rPr kumimoji="1" lang="en-US" altLang="ko-KR" dirty="0"/>
              <a:t>support vector</a:t>
            </a:r>
            <a:r>
              <a:rPr kumimoji="1" lang="ko-KR" altLang="en-US" dirty="0"/>
              <a:t>라고 하고</a:t>
            </a:r>
            <a:r>
              <a:rPr kumimoji="1" lang="en-US" altLang="ko-KR" dirty="0"/>
              <a:t>, </a:t>
            </a:r>
            <a:r>
              <a:rPr kumimoji="1" lang="ko-KR" altLang="en-US" dirty="0"/>
              <a:t>찾은 직선과 서포트벡터 사이의 거리를 최대 마진이라 한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결국 마진을 </a:t>
            </a:r>
            <a:r>
              <a:rPr kumimoji="1" lang="ko-KR" altLang="en-US" dirty="0" err="1"/>
              <a:t>최대로하는</a:t>
            </a:r>
            <a:r>
              <a:rPr kumimoji="1" lang="ko-KR" altLang="en-US" dirty="0"/>
              <a:t> 서포트벡터와 직선을  찾는 것이 </a:t>
            </a:r>
            <a:r>
              <a:rPr kumimoji="1" lang="en-US" altLang="ko-KR" dirty="0"/>
              <a:t>SVM</a:t>
            </a:r>
            <a:r>
              <a:rPr kumimoji="1" lang="ko-KR" altLang="en-US" dirty="0"/>
              <a:t>의 목표이다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151837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352055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806689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3697384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0873284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8536268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3305323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488985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271841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0753619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5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03571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 err="1"/>
              <a:t>랜덤포레스트를</a:t>
            </a:r>
            <a:r>
              <a:rPr kumimoji="1" lang="ko-KR" altLang="en-US" dirty="0"/>
              <a:t> 이해하기위해서는 </a:t>
            </a:r>
            <a:r>
              <a:rPr kumimoji="1" lang="en-US" altLang="ko-KR" dirty="0"/>
              <a:t>decision tree</a:t>
            </a:r>
            <a:r>
              <a:rPr kumimoji="1" lang="ko-KR" altLang="en-US" dirty="0"/>
              <a:t>와 </a:t>
            </a:r>
            <a:r>
              <a:rPr kumimoji="1" lang="ko-KR" altLang="en-US" dirty="0" err="1"/>
              <a:t>앙상블에대한</a:t>
            </a:r>
            <a:r>
              <a:rPr kumimoji="1" lang="ko-KR" altLang="en-US" dirty="0"/>
              <a:t> 이해가 필요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2488143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0310602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046520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6774429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8415050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917789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3279369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9719439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1677471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14459133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EDA</a:t>
            </a:r>
            <a:r>
              <a:rPr kumimoji="1" lang="ko-KR" altLang="en-US" dirty="0"/>
              <a:t>를 통해 </a:t>
            </a:r>
            <a:r>
              <a:rPr kumimoji="1" lang="ko-KR" altLang="en-US" dirty="0" err="1"/>
              <a:t>데이터에대한</a:t>
            </a:r>
            <a:r>
              <a:rPr kumimoji="1" lang="ko-KR" altLang="en-US" dirty="0"/>
              <a:t> 정보를 얻을 수 있었지만 이 정보만으로는 승객의 생존여부를 정확하게 예측하거나 말 할 수 없다</a:t>
            </a:r>
            <a:r>
              <a:rPr kumimoji="1" lang="en-US" altLang="ko-KR" dirty="0"/>
              <a:t>.</a:t>
            </a:r>
          </a:p>
          <a:p>
            <a:r>
              <a:rPr kumimoji="1" lang="ko-KR" altLang="en-US" dirty="0"/>
              <a:t>몇가지 기계학습 알고리즘을 이용하여 승객의 생존여부를 예측해보자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6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47048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ko-KR" altLang="en-US" dirty="0" err="1"/>
              <a:t>랜덤포레스트란</a:t>
            </a:r>
            <a:r>
              <a:rPr kumimoji="1" lang="en-US" altLang="ko-KR" dirty="0"/>
              <a:t>,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060289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 err="1"/>
              <a:t>Sklearn</a:t>
            </a:r>
            <a:r>
              <a:rPr kumimoji="1" lang="ko-KR" altLang="en-US" dirty="0"/>
              <a:t>에서 만들어 둥 모델을 가져와서 사용 할 것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7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0109907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 err="1"/>
              <a:t>Sklearn</a:t>
            </a:r>
            <a:r>
              <a:rPr kumimoji="1" lang="ko-KR" altLang="en-US" dirty="0"/>
              <a:t>에서 만들어 둥 모델을 가져와서 사용 할 것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7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90332173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 err="1"/>
              <a:t>Sklearn</a:t>
            </a:r>
            <a:r>
              <a:rPr kumimoji="1" lang="ko-KR" altLang="en-US" dirty="0"/>
              <a:t>에서 만들어 둥 모델을 가져와서 사용 할 것</a:t>
            </a:r>
            <a:r>
              <a:rPr kumimoji="1"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7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236819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 err="1"/>
              <a:t>XGBoost</a:t>
            </a:r>
            <a:r>
              <a:rPr kumimoji="1" lang="ko-KR" altLang="en-US" dirty="0"/>
              <a:t>를 이해하기위해서는 </a:t>
            </a:r>
            <a:r>
              <a:rPr kumimoji="1" lang="en-US" altLang="ko-KR" b="0" dirty="0"/>
              <a:t>Boosting</a:t>
            </a:r>
            <a:r>
              <a:rPr kumimoji="1" lang="ko-KR" altLang="en-US" b="0" dirty="0"/>
              <a:t>과</a:t>
            </a:r>
            <a:r>
              <a:rPr kumimoji="1" lang="ko-KR" altLang="en-US" dirty="0"/>
              <a:t> </a:t>
            </a:r>
            <a:r>
              <a:rPr kumimoji="1" lang="en-US" altLang="ko-KR" dirty="0"/>
              <a:t>Gradient Boosting</a:t>
            </a:r>
            <a:r>
              <a:rPr kumimoji="1" lang="ko-KR" altLang="en-US" dirty="0" err="1"/>
              <a:t>에대한</a:t>
            </a:r>
            <a:r>
              <a:rPr kumimoji="1" lang="ko-KR" altLang="en-US" dirty="0"/>
              <a:t> 이해가 필요</a:t>
            </a:r>
            <a:r>
              <a:rPr kumimoji="1" lang="en-US" altLang="ko-KR" dirty="0"/>
              <a:t>.</a:t>
            </a:r>
          </a:p>
          <a:p>
            <a:endParaRPr kumimoji="1" lang="en-US" altLang="ko-KR" dirty="0"/>
          </a:p>
          <a:p>
            <a:r>
              <a:rPr kumimoji="1" lang="en-US" altLang="ko-KR" dirty="0"/>
              <a:t>[</a:t>
            </a:r>
            <a:r>
              <a:rPr kumimoji="1" lang="ko-KR" altLang="en-US" dirty="0"/>
              <a:t>그림</a:t>
            </a:r>
            <a:r>
              <a:rPr kumimoji="1" lang="en-US" altLang="ko-KR" dirty="0"/>
              <a:t>] Gradient Boosting : tree1</a:t>
            </a:r>
            <a:r>
              <a:rPr kumimoji="1" lang="ko-KR" altLang="en-US" dirty="0"/>
              <a:t>을 통해 예측하고 남은 </a:t>
            </a:r>
            <a:r>
              <a:rPr kumimoji="1" lang="ko-KR" altLang="en-US" dirty="0" err="1"/>
              <a:t>잔차를</a:t>
            </a:r>
            <a:r>
              <a:rPr kumimoji="1" lang="ko-KR" altLang="en-US" dirty="0"/>
              <a:t> </a:t>
            </a:r>
            <a:r>
              <a:rPr kumimoji="1" lang="en-US" altLang="ko-KR" dirty="0"/>
              <a:t>tree2</a:t>
            </a:r>
            <a:r>
              <a:rPr kumimoji="1" lang="ko-KR" altLang="en-US" dirty="0"/>
              <a:t>를 통해 예측하고</a:t>
            </a:r>
            <a:r>
              <a:rPr kumimoji="1" lang="en-US" altLang="ko-KR" dirty="0"/>
              <a:t>, </a:t>
            </a:r>
            <a:r>
              <a:rPr kumimoji="1" lang="ko-KR" altLang="en-US" dirty="0"/>
              <a:t>반복함으로 써 </a:t>
            </a:r>
            <a:r>
              <a:rPr kumimoji="1" lang="ko-KR" altLang="en-US" dirty="0" err="1"/>
              <a:t>잔차를</a:t>
            </a:r>
            <a:r>
              <a:rPr kumimoji="1" lang="ko-KR" altLang="en-US" dirty="0"/>
              <a:t> </a:t>
            </a:r>
            <a:r>
              <a:rPr kumimoji="1" lang="ko-KR" altLang="en-US" dirty="0" err="1"/>
              <a:t>줄여나감</a:t>
            </a:r>
            <a:endParaRPr kumimoji="1" lang="en-US" altLang="ko-KR" dirty="0"/>
          </a:p>
          <a:p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2170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ko-KR" dirty="0"/>
              <a:t>[</a:t>
            </a:r>
            <a:r>
              <a:rPr kumimoji="1" lang="ko-KR" altLang="en-US" dirty="0"/>
              <a:t>그림</a:t>
            </a:r>
            <a:r>
              <a:rPr kumimoji="1" lang="en-US" altLang="ko-KR" dirty="0"/>
              <a:t>] </a:t>
            </a:r>
            <a:r>
              <a:rPr kumimoji="1" lang="ko-KR" altLang="en-US" dirty="0"/>
              <a:t>의사결정모델의 발전</a:t>
            </a:r>
            <a:endParaRPr kumimoji="1"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1623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245EC-002A-4EDF-992C-9229C4AA9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656C1-9A7D-462D-A13D-61C656D18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2F089-1AA5-48F3-926C-CD4CB683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2C5DE-C381-4247-8A9A-F7D14314A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4DF05-C099-4142-A825-2ADC49A2C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49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7BFC1-2807-4173-B322-FC26022F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1EBF61-478C-4905-BB2E-E8811E3108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DA824-4765-4B49-A21A-781D0E8D55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AC7E9-8B29-45C5-B86D-46BC772E0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1CA9D-D2EB-4717-AA98-79FFB0EE5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68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5E4ADF-C245-4FD0-9CF4-8E4E9ED0CD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4513A6-141A-4296-8A0E-4E7FDD2C1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D794F-2A85-486D-BB04-2872A7CB49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428E3-ACF7-42FB-8BCD-BFAEC61A6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E566D-77E4-46B4-B96A-1567954D4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989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FB2503-A4EF-4229-A4C8-97CF2DD39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09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894F294-9A60-4AF6-9691-548ADA83C4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AFEEC5-C37F-4E11-B4F4-4B698C51F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6"/>
            <a:ext cx="11174506" cy="869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3E3DA-9E1F-41A0-A424-235F82240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747" y="1364343"/>
            <a:ext cx="11174506" cy="4812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3C909-3DF3-4E26-BE80-E0F1A8A1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EEE5E-8D69-48B6-9D3E-4029F75EF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08DC3-CA20-4526-A5EA-9F0C0A455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8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4ABB9-8870-4734-B67F-B82AAA31F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25834-12F3-4A1C-A95D-6742BD108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2845D0-7188-4E77-A866-079331B9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30078-EE8F-4F1B-ACB8-71EEAF581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3F6D4-BA22-4B87-97D8-E4AB0ED14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45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A7E7-FFA9-41C8-AEAF-E461C1FC7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F44D3-CF2D-41FB-B093-6C730E91AB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280537-A018-4065-84DC-2CDEC788B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DF944-27FA-407A-A21B-B41F9514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1F4AF-2B88-418A-98C6-C4987C6A5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0FACA4-669E-41ED-B6E8-0C97E8D19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43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23E00-5201-4ED0-A85D-158D25BD7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933AE-F51C-44D0-BEFF-D3B81A8A2E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722AF-CD95-4E59-8E00-79B99A75E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149A2-5105-4B70-ADB8-588BE97CDA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D4F7-8975-4F3E-AB17-DE4C6A995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AC817B-F0CD-45B8-A1DE-555AA58811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8A04A4-550E-4A1A-9637-8911DD468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6EAE2E-A58A-4638-AF31-AC1A703EC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59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9D9DB-F058-4EE9-B929-12D9ED94D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5E1D3D-D07C-4443-B8B6-CF31758A84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4B9DEE-1F64-408E-9E88-6E1920D61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BC312A-15AF-4E8B-8D5D-8DB848E11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13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7582A5-E81B-43D3-A5A0-FC760CCD24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917A5-E8BE-49AF-B588-E7508B8E5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F615E-5DA2-49FA-93D5-6CFAD8B28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996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A31ED-B054-4A13-AF03-76CB3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09E5A-EA09-4414-9CDD-63BF9E6BC3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6B559E-B3F0-433C-AF71-24C0EC9F4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B3E42-D8C0-4505-87B0-E8E14940F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2F82A-9261-4D73-A000-7583BBB3B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560FE-77E8-4F25-903A-354889DF6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76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01A2F-5377-433F-80A9-BD5E6C4B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4D81A-4FD7-494D-BAC0-D3AB876F75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8F56C-AEEB-46BE-8402-BA1E6B372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0C477-9BFA-4B7E-828E-9F945C9A44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BAE8-D2B2-4D61-8842-FD68F1CC5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E19978-3047-485A-A411-5FFEDD4DC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001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C59B0F-F987-45FC-BFCE-939358048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562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FA22AFD-44EE-460A-A048-FA415C9A8FD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FA6916-2654-474E-998F-AB6F4C64A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5"/>
            <a:ext cx="1117450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8BD3C7-7CF7-4C38-9A7C-A469C0348E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747" y="1825625"/>
            <a:ext cx="111745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A9666B-969A-46DD-AAFE-32B60AD22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21CDC2-F4A2-4EA7-A035-BAE6C4BE8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242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5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708DB47-7FB4-4458-B91E-6D8C13310987}"/>
              </a:ext>
            </a:extLst>
          </p:cNvPr>
          <p:cNvSpPr/>
          <p:nvPr/>
        </p:nvSpPr>
        <p:spPr>
          <a:xfrm>
            <a:off x="0" y="1"/>
            <a:ext cx="12192000" cy="401955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1774E-B951-4B24-A99E-A8CFE03B154D}"/>
              </a:ext>
            </a:extLst>
          </p:cNvPr>
          <p:cNvSpPr/>
          <p:nvPr/>
        </p:nvSpPr>
        <p:spPr>
          <a:xfrm>
            <a:off x="619125" y="1701800"/>
            <a:ext cx="10953750" cy="3946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0F23A7-7EB0-4BFD-8750-41611066F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886" y="1847472"/>
            <a:ext cx="7067550" cy="1946275"/>
          </a:xfrm>
        </p:spPr>
        <p:txBody>
          <a:bodyPr>
            <a:noAutofit/>
          </a:bodyPr>
          <a:lstStyle/>
          <a:p>
            <a:pPr algn="l"/>
            <a:r>
              <a:rPr lang="ko-KR" altLang="en-US" sz="4000" dirty="0" err="1"/>
              <a:t>광주･전남지역</a:t>
            </a:r>
            <a:r>
              <a:rPr lang="ko-KR" altLang="en-US" sz="4000" dirty="0"/>
              <a:t> </a:t>
            </a:r>
            <a:r>
              <a:rPr lang="ko-KR" altLang="en-US" sz="4000" dirty="0" err="1"/>
              <a:t>재직자대상</a:t>
            </a:r>
            <a:r>
              <a:rPr lang="ko-KR" altLang="en-US" sz="4000" dirty="0"/>
              <a:t> </a:t>
            </a:r>
            <a:r>
              <a:rPr lang="en-US" altLang="ko-KR" sz="4000" dirty="0"/>
              <a:t>AI</a:t>
            </a:r>
            <a:r>
              <a:rPr lang="ko-KR" altLang="en-US" sz="4000" dirty="0"/>
              <a:t>융합 교육 프로그램</a:t>
            </a:r>
            <a:endParaRPr lang="en-US" sz="4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12D0CA-BDA1-4C12-9003-79A39E2226FD}"/>
              </a:ext>
            </a:extLst>
          </p:cNvPr>
          <p:cNvCxnSpPr>
            <a:cxnSpLocks/>
          </p:cNvCxnSpPr>
          <p:nvPr/>
        </p:nvCxnSpPr>
        <p:spPr>
          <a:xfrm>
            <a:off x="1012209" y="4012442"/>
            <a:ext cx="101675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>
            <a:extLst>
              <a:ext uri="{FF2B5EF4-FFF2-40B4-BE49-F238E27FC236}">
                <a16:creationId xmlns:a16="http://schemas.microsoft.com/office/drawing/2014/main" id="{B22EFF57-65EA-4918-83B0-397923E4D7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9883" y="4421121"/>
            <a:ext cx="10552991" cy="827881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2000" i="1" dirty="0"/>
              <a:t>Kaggle Titanic </a:t>
            </a:r>
            <a:r>
              <a:rPr lang="ko-KR" altLang="en-US" sz="2000" i="1" dirty="0"/>
              <a:t>데이터를 사용한 데이터 시각화 및 전처리</a:t>
            </a:r>
            <a:r>
              <a:rPr lang="en-US" altLang="ko-KR" sz="2000" i="1" dirty="0"/>
              <a:t>,</a:t>
            </a:r>
            <a:r>
              <a:rPr lang="ko-KR" altLang="en-US" sz="2000" i="1" dirty="0"/>
              <a:t> </a:t>
            </a:r>
            <a:r>
              <a:rPr lang="en-US" altLang="ko-KR" sz="2000" i="1" dirty="0"/>
              <a:t>Machine Learning</a:t>
            </a:r>
            <a:r>
              <a:rPr lang="ko-KR" altLang="en-US" sz="2000" i="1" dirty="0"/>
              <a:t> 알고리즘 적용</a:t>
            </a:r>
            <a:endParaRPr lang="en-US" altLang="ko-KR" sz="2000" i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F62196-E021-4505-BF48-541DA91A08A3}"/>
              </a:ext>
            </a:extLst>
          </p:cNvPr>
          <p:cNvSpPr/>
          <p:nvPr/>
        </p:nvSpPr>
        <p:spPr>
          <a:xfrm>
            <a:off x="1143000" y="1621668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8BFB42-A4B6-41F7-BCB5-2DD1F06BC947}"/>
              </a:ext>
            </a:extLst>
          </p:cNvPr>
          <p:cNvSpPr txBox="1"/>
          <p:nvPr/>
        </p:nvSpPr>
        <p:spPr>
          <a:xfrm>
            <a:off x="7182678" y="3278812"/>
            <a:ext cx="40744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초급과정 </a:t>
            </a:r>
            <a:r>
              <a:rPr lang="en-US" altLang="ko-KR" sz="3200" dirty="0">
                <a:solidFill>
                  <a:schemeClr val="bg2">
                    <a:lumMod val="10000"/>
                  </a:schemeClr>
                </a:solidFill>
              </a:rPr>
              <a:t>-</a:t>
            </a:r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ko-KR" sz="3200" dirty="0">
                <a:solidFill>
                  <a:schemeClr val="bg2">
                    <a:lumMod val="10000"/>
                  </a:schemeClr>
                </a:solidFill>
              </a:rPr>
              <a:t>1</a:t>
            </a:r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차</a:t>
            </a:r>
          </a:p>
        </p:txBody>
      </p:sp>
    </p:spTree>
    <p:extLst>
      <p:ext uri="{BB962C8B-B14F-4D97-AF65-F5344CB8AC3E}">
        <p14:creationId xmlns:p14="http://schemas.microsoft.com/office/powerpoint/2010/main" val="817746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</a:t>
            </a: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E170F4F4-72F3-FB4B-B8D9-B0305560D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652" y="2287790"/>
            <a:ext cx="10090695" cy="2282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60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ataset</a:t>
            </a:r>
            <a:endParaRPr lang="en-US" dirty="0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3" name="Picture 1" descr="page1image48852352">
            <a:extLst>
              <a:ext uri="{FF2B5EF4-FFF2-40B4-BE49-F238E27FC236}">
                <a16:creationId xmlns:a16="http://schemas.microsoft.com/office/drawing/2014/main" id="{6B3ACE73-D82F-3C4E-B822-4272CCF81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694" y="1554013"/>
            <a:ext cx="8079210" cy="4638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261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Exercis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 err="1"/>
              <a:t>k</a:t>
            </a:r>
            <a:r>
              <a:rPr lang="en-US" sz="2400" dirty="0" err="1"/>
              <a:t>aggle.com</a:t>
            </a:r>
            <a:r>
              <a:rPr lang="ko-KR" altLang="en-US" sz="2400" dirty="0"/>
              <a:t> 접속 후 로그인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4A30AF3-AEE5-2D4E-A200-AC1BBCEFFC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7344" y="2300275"/>
            <a:ext cx="6897311" cy="392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971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K</a:t>
            </a:r>
            <a:r>
              <a:rPr lang="en-US" sz="2400" dirty="0"/>
              <a:t>aggle</a:t>
            </a:r>
            <a:r>
              <a:rPr lang="ko-KR" altLang="en-US" sz="2400" dirty="0"/>
              <a:t> </a:t>
            </a:r>
            <a:r>
              <a:rPr lang="en-US" altLang="ko-KR" sz="2400" dirty="0"/>
              <a:t>notebook </a:t>
            </a:r>
            <a:r>
              <a:rPr lang="ko-KR" altLang="en-US" sz="2400" dirty="0"/>
              <a:t>생성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564C5E1-06AF-6645-AB31-C785211AC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770747"/>
            <a:ext cx="2133600" cy="331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58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 err="1"/>
              <a:t>Jiyeong</a:t>
            </a:r>
            <a:r>
              <a:rPr lang="en-US" sz="2400" dirty="0"/>
              <a:t> </a:t>
            </a:r>
            <a:r>
              <a:rPr lang="en-US" sz="2400" dirty="0" err="1"/>
              <a:t>Yim</a:t>
            </a:r>
            <a:r>
              <a:rPr lang="en-US" sz="2400" dirty="0"/>
              <a:t> </a:t>
            </a:r>
            <a:r>
              <a:rPr lang="ko-KR" altLang="en-US" sz="2400" dirty="0"/>
              <a:t>검색 후 </a:t>
            </a:r>
            <a:r>
              <a:rPr lang="en-US" altLang="ko-KR" sz="2400" dirty="0"/>
              <a:t>Final-</a:t>
            </a:r>
            <a:r>
              <a:rPr lang="ko-KR" altLang="en-US" sz="2400" dirty="0"/>
              <a:t>재직자대상</a:t>
            </a:r>
            <a:r>
              <a:rPr lang="en-US" altLang="ko-KR" sz="2400" dirty="0"/>
              <a:t>-</a:t>
            </a:r>
            <a:r>
              <a:rPr lang="ko-KR" altLang="en-US" sz="2400" dirty="0"/>
              <a:t>초급</a:t>
            </a:r>
            <a:r>
              <a:rPr lang="en-US" altLang="ko-KR" sz="2400" dirty="0"/>
              <a:t>1 </a:t>
            </a:r>
            <a:r>
              <a:rPr lang="ko-KR" altLang="en-US" sz="2400" dirty="0"/>
              <a:t>선택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35F39F-C00A-492F-B9D1-8FC6541731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927" y="2250955"/>
            <a:ext cx="5628145" cy="404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7312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Edit </a:t>
            </a:r>
            <a:r>
              <a:rPr lang="ko-KR" altLang="en-US" sz="2400" dirty="0"/>
              <a:t>옆 메뉴 클릭 후 </a:t>
            </a:r>
            <a:r>
              <a:rPr lang="en-US" altLang="ko-KR" sz="2400" dirty="0"/>
              <a:t>Copy &amp; edit notebook </a:t>
            </a:r>
            <a:r>
              <a:rPr lang="ko-KR" altLang="en-US" sz="2400" dirty="0"/>
              <a:t>클릭</a:t>
            </a:r>
            <a:endParaRPr lang="en-US" sz="2400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73F9D41A-947D-4C19-A82E-34A41633E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604" y="2385654"/>
            <a:ext cx="6375296" cy="366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9597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Titanic </a:t>
            </a:r>
            <a:r>
              <a:rPr lang="ko-KR" altLang="en-US" sz="2400" dirty="0"/>
              <a:t>데이터 불러오기 </a:t>
            </a:r>
            <a:r>
              <a:rPr lang="en-US" altLang="ko-KR" sz="1600" dirty="0">
                <a:solidFill>
                  <a:schemeClr val="bg2">
                    <a:lumMod val="25000"/>
                  </a:schemeClr>
                </a:solidFill>
              </a:rPr>
              <a:t>– </a:t>
            </a:r>
            <a:r>
              <a:rPr lang="ko-KR" altLang="en-US" sz="1600" dirty="0">
                <a:solidFill>
                  <a:schemeClr val="bg2">
                    <a:lumMod val="25000"/>
                  </a:schemeClr>
                </a:solidFill>
              </a:rPr>
              <a:t>우측 상단  </a:t>
            </a:r>
            <a:r>
              <a:rPr lang="en-US" altLang="ko-KR" sz="1600" dirty="0">
                <a:solidFill>
                  <a:schemeClr val="bg2">
                    <a:lumMod val="25000"/>
                  </a:schemeClr>
                </a:solidFill>
              </a:rPr>
              <a:t>+Add data </a:t>
            </a:r>
            <a:r>
              <a:rPr lang="ko-KR" altLang="en-US" sz="1600" dirty="0">
                <a:solidFill>
                  <a:schemeClr val="bg2">
                    <a:lumMod val="25000"/>
                  </a:schemeClr>
                </a:solidFill>
              </a:rPr>
              <a:t>버튼 클릭</a:t>
            </a:r>
            <a:endParaRPr lang="en-US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C8ED6B7-691C-4F56-B307-74F3644EE2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1002" y="2231122"/>
            <a:ext cx="8549426" cy="408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1336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Titanic </a:t>
            </a:r>
            <a:r>
              <a:rPr lang="ko-KR" altLang="en-US" sz="2400" dirty="0"/>
              <a:t>데이터 불러오기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 </a:t>
            </a:r>
            <a:r>
              <a:rPr kumimoji="0" lang="en-US" altLang="ko-KR" sz="16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– Competition Data</a:t>
            </a:r>
            <a:r>
              <a:rPr kumimoji="0" lang="ko-KR" altLang="en-US" sz="16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에서 </a:t>
            </a:r>
            <a:r>
              <a:rPr kumimoji="0" lang="en-US" altLang="ko-KR" sz="16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Titanic </a:t>
            </a:r>
            <a:r>
              <a:rPr kumimoji="0" lang="ko-KR" altLang="en-US" sz="16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검색 후 </a:t>
            </a:r>
            <a:r>
              <a:rPr kumimoji="0" lang="en-US" altLang="ko-KR" sz="160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Add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7B8B0FC-3F3F-4240-B0F7-8DA2F628F5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148" y="2540882"/>
            <a:ext cx="8487052" cy="3379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4727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Titanic </a:t>
            </a:r>
            <a:r>
              <a:rPr lang="ko-KR" altLang="en-US" sz="2400" dirty="0"/>
              <a:t>데이터 불러오기</a:t>
            </a:r>
            <a:endParaRPr lang="en-US" sz="2400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9F370EFC-1ACD-4044-AAAF-2AC9A9D04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871114"/>
            <a:ext cx="3801375" cy="2296132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B94E29BD-C9C2-4BBD-B4CB-36586D870F42}"/>
              </a:ext>
            </a:extLst>
          </p:cNvPr>
          <p:cNvSpPr txBox="1">
            <a:spLocks/>
          </p:cNvSpPr>
          <p:nvPr/>
        </p:nvSpPr>
        <p:spPr>
          <a:xfrm>
            <a:off x="5454709" y="3442985"/>
            <a:ext cx="5365691" cy="11523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gender_submission.csv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생존여부 예측 후 제출을 위한 파일</a:t>
            </a:r>
            <a:endParaRPr lang="en-US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test.csv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테스트 파일</a:t>
            </a:r>
            <a:endParaRPr lang="en-US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600" dirty="0">
                <a:solidFill>
                  <a:schemeClr val="accent2">
                    <a:lumMod val="7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train.csv </a:t>
            </a:r>
            <a:r>
              <a:rPr 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훈련용 파일</a:t>
            </a:r>
            <a:endParaRPr lang="en-US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13502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Titanic </a:t>
            </a:r>
            <a:r>
              <a:rPr lang="ko-KR" altLang="en-US" sz="2400" dirty="0"/>
              <a:t>데이터 불러오기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94E29BD-C9C2-4BBD-B4CB-36586D870F42}"/>
              </a:ext>
            </a:extLst>
          </p:cNvPr>
          <p:cNvSpPr txBox="1">
            <a:spLocks/>
          </p:cNvSpPr>
          <p:nvPr/>
        </p:nvSpPr>
        <p:spPr>
          <a:xfrm>
            <a:off x="7543585" y="2871978"/>
            <a:ext cx="4139667" cy="24118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▹ 첫번째 셀 실행 시 추가한 데이터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ath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확인 가능 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셀 실행 단축키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: Shift + Ent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선택한 셀 아래에 셀 추가 단축키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: b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선택한 셀 위에 셀 추가 단축키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: 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셀 제거 단축키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: d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DA0D3A9-763E-4410-A879-EDAD90742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5" y="2565924"/>
            <a:ext cx="6465441" cy="329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399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5">
            <a:extLst>
              <a:ext uri="{FF2B5EF4-FFF2-40B4-BE49-F238E27FC236}">
                <a16:creationId xmlns:a16="http://schemas.microsoft.com/office/drawing/2014/main" id="{38C604E8-2519-3E42-9A16-10DCF56235F6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58CA5460-1EC5-604B-B626-B8A802D34FBD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E</a:t>
            </a:r>
          </a:p>
        </p:txBody>
      </p:sp>
      <p:graphicFrame>
        <p:nvGraphicFramePr>
          <p:cNvPr id="44" name="Table 26">
            <a:extLst>
              <a:ext uri="{FF2B5EF4-FFF2-40B4-BE49-F238E27FC236}">
                <a16:creationId xmlns:a16="http://schemas.microsoft.com/office/drawing/2014/main" id="{27ED44DE-CE07-5F42-BA9E-B4F71542AC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375614"/>
              </p:ext>
            </p:extLst>
          </p:nvPr>
        </p:nvGraphicFramePr>
        <p:xfrm>
          <a:off x="1111419" y="1927885"/>
          <a:ext cx="10387854" cy="3562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297">
                  <a:extLst>
                    <a:ext uri="{9D8B030D-6E8A-4147-A177-3AD203B41FA5}">
                      <a16:colId xmlns:a16="http://schemas.microsoft.com/office/drawing/2014/main" val="3270118377"/>
                    </a:ext>
                  </a:extLst>
                </a:gridCol>
                <a:gridCol w="8584557">
                  <a:extLst>
                    <a:ext uri="{9D8B030D-6E8A-4147-A177-3AD203B41FA5}">
                      <a16:colId xmlns:a16="http://schemas.microsoft.com/office/drawing/2014/main" val="2716720734"/>
                    </a:ext>
                  </a:extLst>
                </a:gridCol>
              </a:tblGrid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ho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머신러닝에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대한 경험이 없으며 데이터분석 및 시각화에 대한 이해가 필요한 모든 분</a:t>
                      </a:r>
                      <a:endParaRPr lang="en-US" altLang="ko-KR" sz="1400" b="0" i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552497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hat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Kaggle Titanic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데이터를 이용한 데이터 분석 및 시각화</a:t>
                      </a:r>
                      <a:endParaRPr lang="en-US" altLang="ko-KR" sz="1400" b="0" i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머신러닝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알고리즘 적용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(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Linear Regression, Random Forest, </a:t>
                      </a:r>
                      <a:r>
                        <a:rPr lang="en-US" altLang="ko-KR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XGBoost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)</a:t>
                      </a:r>
                      <a:endParaRPr lang="en-US" sz="14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019685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w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Kaggle Notebook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이용하여 실습과 함께 진행됩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  <a:endParaRPr lang="en-US" sz="14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30945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fter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주어진 데이터를 빠르게 분석하며 시각화 할 수 있습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머신러닝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및 시각화를 위한 라이브러리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(Pandas, </a:t>
                      </a:r>
                      <a:r>
                        <a:rPr lang="en-US" altLang="ko-KR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Numpy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, Matplotlib 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등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)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를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이해하고 활용할 수 있습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여러가지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머신러닝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알고리즘을 적용 할 수 있습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  <a:endParaRPr lang="en-US" sz="14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358848"/>
                  </a:ext>
                </a:extLst>
              </a:tr>
            </a:tbl>
          </a:graphicData>
        </a:graphic>
      </p:graphicFrame>
      <p:sp>
        <p:nvSpPr>
          <p:cNvPr id="7" name="Rectangle 49">
            <a:extLst>
              <a:ext uri="{FF2B5EF4-FFF2-40B4-BE49-F238E27FC236}">
                <a16:creationId xmlns:a16="http://schemas.microsoft.com/office/drawing/2014/main" id="{3095DDFE-7698-1149-A966-31BF35774F15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3066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4770415"/>
            <a:ext cx="12192000" cy="2087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</a:t>
            </a:r>
            <a:r>
              <a:rPr lang="en-US" sz="2400" dirty="0" err="1"/>
              <a:t>read_csv</a:t>
            </a:r>
            <a:r>
              <a:rPr lang="en-US" sz="2400" dirty="0"/>
              <a:t>()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C01D7AF-708D-4F00-8760-86AFC196F0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199" y="2831181"/>
            <a:ext cx="7600026" cy="869495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301321"/>
            <a:ext cx="6204012" cy="11583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read_csv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() : csv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파일을 불러오기 위한 함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sv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란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?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omma Separated Value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약자로 콤마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 , )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분리된 데이터</a:t>
            </a:r>
            <a:endParaRPr lang="en-US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00399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427221"/>
            <a:ext cx="12192000" cy="1430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head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10206"/>
            <a:ext cx="6204012" cy="723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head 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불러온 데이터의 상위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개 행을 출력하는 함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괄호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안에 숫자를 넣으면 그 숫자만큼의 행을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A3FF217-7EBF-4A04-9C25-275A571CEF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195851"/>
            <a:ext cx="7649643" cy="312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4318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427221"/>
            <a:ext cx="12192000" cy="1430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head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10206"/>
            <a:ext cx="6204012" cy="723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head 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불러온 데이터의 상위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개 행을 출력하는 함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괄호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안에 숫자를 넣으면 그 숫자만큼의 행을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1DA8B68-EFED-4349-8247-FAC4E9A88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507751"/>
            <a:ext cx="7573432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6796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427221"/>
            <a:ext cx="12192000" cy="1430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tail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10206"/>
            <a:ext cx="6204012" cy="723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tail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불러온 데이터의 하위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개 행을 출력하는 함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괄호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안에 숫자를 넣으면 그 숫자만큼의 행을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6D9A705-F3DA-42EC-9186-78188E9C7F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207142"/>
            <a:ext cx="7573432" cy="280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29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427221"/>
            <a:ext cx="12192000" cy="1430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tail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10206"/>
            <a:ext cx="6204012" cy="7237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tail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불러온 데이터의 하위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개 행을 출력하는 함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괄호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안에 숫자를 넣으면 그 숫자만큼의 행을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F4AD00F-726B-4480-B6B0-5372D03CCB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815852"/>
            <a:ext cx="7544853" cy="209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5973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4869085"/>
            <a:ext cx="12192000" cy="19889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- shap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42096"/>
            <a:ext cx="6204012" cy="491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hape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데이터프레임의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행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열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크기를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4F8CD22-682A-4C41-8C90-C70FDC3DB5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799721"/>
            <a:ext cx="2572373" cy="171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881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321487"/>
            <a:ext cx="12192000" cy="1536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– info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42095"/>
            <a:ext cx="6204012" cy="775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nfo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데이터프레임을 구성하는 행과 열의 크기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column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별 정보를 출력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olumn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명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비어 있지 않은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Non-Null)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값의 개수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column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타입 정보가 표시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7BFF230-FB21-4616-A251-A21704749A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4764"/>
          <a:stretch/>
        </p:blipFill>
        <p:spPr>
          <a:xfrm>
            <a:off x="1017494" y="2985960"/>
            <a:ext cx="3029373" cy="521058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0CF93E1-AE33-4A70-A8CD-99AE51AF00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996"/>
          <a:stretch/>
        </p:blipFill>
        <p:spPr>
          <a:xfrm>
            <a:off x="5123927" y="1729335"/>
            <a:ext cx="3579807" cy="335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164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321487"/>
            <a:ext cx="12192000" cy="1536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– </a:t>
            </a:r>
            <a:r>
              <a:rPr lang="en-US" sz="2400" dirty="0" err="1"/>
              <a:t>isnull</a:t>
            </a:r>
            <a:r>
              <a:rPr lang="en-US" sz="2400" dirty="0"/>
              <a:t>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42095"/>
            <a:ext cx="6204012" cy="775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snull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데이터프레임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전체의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값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여부 확인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이면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True,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이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아니면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False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boolean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값을 반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BB061BE-C7B6-47AC-AB7A-A8CA0D02C7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5" t="14612" b="-516"/>
          <a:stretch/>
        </p:blipFill>
        <p:spPr>
          <a:xfrm>
            <a:off x="4889924" y="1403297"/>
            <a:ext cx="6284582" cy="370506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9ACD106C-D3C9-4E76-8E45-02A376D9D5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9679" b="88208"/>
          <a:stretch/>
        </p:blipFill>
        <p:spPr>
          <a:xfrm>
            <a:off x="1017494" y="3061993"/>
            <a:ext cx="2765484" cy="73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9175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321487"/>
            <a:ext cx="12192000" cy="1536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Pandas – </a:t>
            </a:r>
            <a:r>
              <a:rPr lang="en-US" sz="2400" dirty="0" err="1"/>
              <a:t>isnull</a:t>
            </a:r>
            <a:r>
              <a:rPr lang="en-US" sz="2400" dirty="0"/>
              <a:t>().sum()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5650C15-3E6C-4256-98D9-C6355F92A3A6}"/>
              </a:ext>
            </a:extLst>
          </p:cNvPr>
          <p:cNvSpPr txBox="1">
            <a:spLocks/>
          </p:cNvSpPr>
          <p:nvPr/>
        </p:nvSpPr>
        <p:spPr>
          <a:xfrm>
            <a:off x="1017494" y="5642095"/>
            <a:ext cx="6204012" cy="775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snull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데이터프레임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전체의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값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여부 확인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snull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.sum() :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값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개수 확인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EF121CF-9E28-46D2-AAB7-AD392CBEAF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216177"/>
            <a:ext cx="2081306" cy="2864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2645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757333"/>
            <a:ext cx="12192000" cy="1100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Seaborn </a:t>
            </a:r>
            <a:r>
              <a:rPr lang="ko-KR" altLang="en-US" sz="2400" dirty="0"/>
              <a:t>과 </a:t>
            </a:r>
            <a:r>
              <a:rPr lang="en-US" altLang="ko-KR" sz="2400" dirty="0"/>
              <a:t>matplotlib</a:t>
            </a:r>
            <a:r>
              <a:rPr lang="ko-KR" altLang="en-US" sz="2400" dirty="0"/>
              <a:t>를 이용한 데이터 시각화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DD07ACE7-99B4-469E-B604-4BC9F62072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9066" y="1988758"/>
            <a:ext cx="1596934" cy="489384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13DDED5-86BF-4615-8FA0-A781679641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8400" y="1411099"/>
            <a:ext cx="1628353" cy="415133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D95F34F3-9794-4E03-9416-D1FF392996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7494" y="2438462"/>
            <a:ext cx="3673247" cy="3069566"/>
          </a:xfrm>
          <a:prstGeom prst="rect">
            <a:avLst/>
          </a:prstGeom>
        </p:spPr>
      </p:pic>
      <p:sp>
        <p:nvSpPr>
          <p:cNvPr id="16" name="Subtitle 2">
            <a:extLst>
              <a:ext uri="{FF2B5EF4-FFF2-40B4-BE49-F238E27FC236}">
                <a16:creationId xmlns:a16="http://schemas.microsoft.com/office/drawing/2014/main" id="{52FB12BA-7E9B-4392-8E1F-0C9CC01DC47C}"/>
              </a:ext>
            </a:extLst>
          </p:cNvPr>
          <p:cNvSpPr txBox="1">
            <a:spLocks/>
          </p:cNvSpPr>
          <p:nvPr/>
        </p:nvSpPr>
        <p:spPr>
          <a:xfrm>
            <a:off x="1017494" y="5974595"/>
            <a:ext cx="6204012" cy="4431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eaborn : matplotlib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기반의 시각화 라이브러리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537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8C3F703-3B89-A246-B50C-8624AE383D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148" y="2026269"/>
            <a:ext cx="2430156" cy="998409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C507C5C9-C67E-8041-90C7-BC67E4E85D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9606" y="2074050"/>
            <a:ext cx="1956802" cy="119933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B4483D1F-6384-2E4D-886B-BCD52BDBB4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2832" y="4271782"/>
            <a:ext cx="2730500" cy="110490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2B14714-2E4E-F048-86B2-A07D24FC2C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847" y="4713540"/>
            <a:ext cx="5202321" cy="132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3646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321487"/>
            <a:ext cx="12192000" cy="1536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생존여부 확인하는 그래프 그리기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BB9A0BC-B4E7-45AD-B01B-9E955A27E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963" y="1903483"/>
            <a:ext cx="3238952" cy="317226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F9106F74-93A2-4E45-B08A-8D8D9DF4D2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9865" y="2565614"/>
            <a:ext cx="6410213" cy="2068821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C120BD44-8873-49CA-AA62-756D763F3173}"/>
              </a:ext>
            </a:extLst>
          </p:cNvPr>
          <p:cNvSpPr txBox="1">
            <a:spLocks/>
          </p:cNvSpPr>
          <p:nvPr/>
        </p:nvSpPr>
        <p:spPr>
          <a:xfrm>
            <a:off x="1017494" y="5632847"/>
            <a:ext cx="6204012" cy="7848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lt.figure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공간 정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fig.add_subplot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축 정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722999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321487"/>
            <a:ext cx="12192000" cy="1536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생존여부 확인하는 그래프 그리기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0DFA735-4105-4A83-AE10-532932D37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79" y="3055061"/>
            <a:ext cx="11534759" cy="151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8307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781368"/>
            <a:ext cx="12192000" cy="1076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성별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31850"/>
            <a:ext cx="6204012" cy="302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anda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groupby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함수를 이용하여 성별 생존율 확인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B5344E5-D756-4225-815F-1D1358176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747479"/>
            <a:ext cx="5845827" cy="192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942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성별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04012" cy="6081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성별 생존자의 비율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성별 생존자의 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162EECE-A0A5-4576-B996-3941AE713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642" y="2357675"/>
            <a:ext cx="6599816" cy="214264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FFC44435-5808-4A9B-8355-CEFBCED8B1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4747" y="3734858"/>
            <a:ext cx="5309559" cy="257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6285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성별 생존여부 시각화</a:t>
            </a:r>
            <a:endParaRPr lang="en-US" sz="2400" dirty="0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FFC44435-5808-4A9B-8355-CEFBCED8B1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79" y="2847905"/>
            <a:ext cx="6383977" cy="3097271"/>
          </a:xfrm>
          <a:prstGeom prst="rect">
            <a:avLst/>
          </a:prstGeom>
        </p:spPr>
      </p:pic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497880" y="2847905"/>
            <a:ext cx="4220568" cy="25747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탑승자의 수는 남성이 훨씬 많지만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구조된 탑승자의 수는 여성이 거의 남성의 두배이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배에 탑승한 여성의 생존율은 약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75%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인 반면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남성의 생존율은 약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18%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 불과하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744582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티켓 등급 별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23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andas – crosstab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함수 이용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범주형 변수를 기준으로 개수 파악이나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수치형 데이터를 넣어 계산할 때 사용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9E2C4C4-0EC1-4D8C-AC5F-053AA91A3D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804085"/>
            <a:ext cx="4629796" cy="342948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69740E7-C9A8-4582-98D5-823B375648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94" y="4419699"/>
            <a:ext cx="7935432" cy="352474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5165F89-E015-4EEF-A627-A79C0C6045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7320" y="2117869"/>
            <a:ext cx="1885606" cy="1928705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AB90BE4C-1DAB-4BB2-B65B-C8024F57C5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97925" y="2117869"/>
            <a:ext cx="1842506" cy="189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87182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티켓 등급 별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23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별 탑승객 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별 생존자의 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E558D6B-4D6C-4255-9530-1E509FCC8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642" y="2484891"/>
            <a:ext cx="5814385" cy="2477906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83011601-76F2-440C-BACF-63B81AF29F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8655" y="2503868"/>
            <a:ext cx="5030443" cy="2343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872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티켓 등급 별 생존여부 시각화</a:t>
            </a:r>
            <a:endParaRPr lang="en-US" sz="2400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497880" y="2847905"/>
            <a:ext cx="4220568" cy="25747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탑승객의 수는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3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 가장 많지만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Pclass1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 탑승한 탑승객이 더 많이 생존하였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B3118AB-AED7-4ECB-8487-AE260FAEE3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5" y="2773875"/>
            <a:ext cx="5685247" cy="264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644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티켓 등급과 성별 사이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7448080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atplot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:  categorical plot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들을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kind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파라미터 변수 설정을 통해 그릴 수 있음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-&gt; strip(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기본값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), box, violin, point, bar, count, point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3D809BD-343B-4D11-A0F8-0ED26AE8BC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5" y="2587454"/>
            <a:ext cx="5430008" cy="34294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B534816-61AB-472C-8D71-EDD54F8BC0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2774" y="2238194"/>
            <a:ext cx="2381582" cy="189574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5B3984C5-302E-4958-9A2A-6E346DEE0E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085" y="3542539"/>
            <a:ext cx="5887272" cy="371527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C6FC39AF-D2A6-4F63-8646-D23C0356EE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085" y="4602018"/>
            <a:ext cx="5820587" cy="457264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2707B950-C587-46BB-9FFD-3F485DC5DB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58315" y="1307532"/>
            <a:ext cx="2909726" cy="2317004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17181770-1A62-4CD9-84BD-D5D86DD40F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27081" y="3914066"/>
            <a:ext cx="2842372" cy="2323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8768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티켓 등급과 성별 사이 생존여부 시각화</a:t>
            </a:r>
            <a:endParaRPr lang="en-US" sz="2400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426935" y="2300275"/>
            <a:ext cx="4220568" cy="25747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1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여성은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95%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상 생존하였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모든 등급에서 남성의 생존율보다 여성의 생존율이 높음으로 보아 구조 시 여성이 우선이었음을 추측 할 수  있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성별에 관계없이 등급이 높을 수록 생존율이 높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F028B15-B957-43B3-86B3-C65BF8645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552" y="3858079"/>
            <a:ext cx="3493519" cy="2781876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6FE46A05-8DD3-43BC-A09F-C083ECE43C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2382" y="2178219"/>
            <a:ext cx="3412651" cy="278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69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z="2400" dirty="0"/>
              <a:t>Machine</a:t>
            </a:r>
            <a:r>
              <a:rPr lang="ko-KR" altLang="en-US" sz="2400" dirty="0"/>
              <a:t> </a:t>
            </a:r>
            <a:r>
              <a:rPr lang="en-US" altLang="ko-KR" sz="2400" dirty="0"/>
              <a:t>Learning, </a:t>
            </a:r>
            <a:r>
              <a:rPr lang="ko-KR" altLang="en-US" sz="2400" dirty="0" err="1"/>
              <a:t>기계학습이란</a:t>
            </a:r>
            <a:r>
              <a:rPr lang="en-US" altLang="ko-KR" sz="2400" dirty="0"/>
              <a:t>?</a:t>
            </a:r>
            <a:endParaRPr lang="en-US" sz="240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664315D-BDB2-4FF8-BC36-D02FD4789E3A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머신러닝은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컴퓨터를 인간처럼 학습시킴으로써 인간의 도움 없이 컴퓨터가 스스로 새로운 규칙을 생성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컴퓨터가 스스로 학습할 수 있도록 도와주는 알고리즘이나 기술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❓❗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eriod"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훈련에 필요한 샘플 데이터를 입력한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eriod"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컴퓨터가 입력 받은 데이터를 분석하여 일정한 패턴과 규칙을 찾아낸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eriod"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찾아낸 패턴과 규칙을 가지고 의사결정 및 예측을 수행한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559296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4869085"/>
            <a:ext cx="12192000" cy="19889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나이와 티켓등급</a:t>
            </a:r>
            <a:r>
              <a:rPr lang="en-US" altLang="ko-KR" sz="2400" dirty="0"/>
              <a:t>, </a:t>
            </a:r>
            <a:r>
              <a:rPr lang="ko-KR" altLang="en-US" sz="2400" dirty="0"/>
              <a:t>나이와 성별 사이 생존여부 시각화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213646"/>
            <a:ext cx="6223964" cy="9977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violinplot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분포 정도를 파악하기 쉬움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티켓등급과 나이별 생존여부 분포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성별과 나이별 생존여부 분포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1536B73-8502-4266-B360-1072DDC199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642" y="2494241"/>
            <a:ext cx="6830378" cy="2105319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A674F64D-B8A6-445A-B74A-EEBE563D69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0354" y="4237511"/>
            <a:ext cx="4642898" cy="218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6906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나이와 티켓등급</a:t>
            </a:r>
            <a:r>
              <a:rPr lang="en-US" altLang="ko-KR" sz="2400" dirty="0"/>
              <a:t>, </a:t>
            </a:r>
            <a:r>
              <a:rPr lang="ko-KR" altLang="en-US" sz="2400" dirty="0"/>
              <a:t>나이와 성별 사이 생존여부 시각화</a:t>
            </a:r>
            <a:endParaRPr lang="en-US" altLang="ko-KR" sz="240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353192" y="3200775"/>
            <a:ext cx="4368053" cy="22574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 상관없이 아동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10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세 미만 승객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)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생존율은 높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남성의 경우 나이가 많을수록 생존 확률이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낮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2B9173A8-AD4B-4340-8B11-7DF577586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79" y="2847905"/>
            <a:ext cx="6300381" cy="2963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4721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Age </a:t>
            </a:r>
            <a:r>
              <a:rPr lang="ko-KR" altLang="en-US" sz="2400" dirty="0" err="1"/>
              <a:t>결측치</a:t>
            </a:r>
            <a:r>
              <a:rPr lang="ko-KR" altLang="en-US" sz="2400" dirty="0"/>
              <a:t> </a:t>
            </a:r>
            <a:r>
              <a:rPr lang="ko-KR" altLang="en-US" sz="2400" dirty="0" err="1"/>
              <a:t>채워주기</a:t>
            </a:r>
            <a:endParaRPr lang="en-US" sz="240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A3CB31F-D341-4869-83D5-0D9470FBA752}"/>
              </a:ext>
            </a:extLst>
          </p:cNvPr>
          <p:cNvSpPr txBox="1">
            <a:spLocks/>
          </p:cNvSpPr>
          <p:nvPr/>
        </p:nvSpPr>
        <p:spPr>
          <a:xfrm>
            <a:off x="1017494" y="2259821"/>
            <a:ext cx="10486248" cy="22574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름에 존재하는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nitial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나이대를 예측 할 수 있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791A0F8-28AE-453F-8BD4-1BE5798C8C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116" y="2898754"/>
            <a:ext cx="4134427" cy="204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25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Age </a:t>
            </a:r>
            <a:r>
              <a:rPr lang="ko-KR" altLang="en-US" sz="2400" dirty="0" err="1"/>
              <a:t>결측치</a:t>
            </a:r>
            <a:r>
              <a:rPr lang="ko-KR" altLang="en-US" sz="2400" dirty="0"/>
              <a:t> </a:t>
            </a:r>
            <a:r>
              <a:rPr lang="ko-KR" altLang="en-US" sz="2400" dirty="0" err="1"/>
              <a:t>채워주기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8524712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r. Mrs. Miss.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끝나는 특성을 이용해서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nitial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정보를 담은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olumn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을 추가해준다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139F71C-31DB-4D40-9D63-8243BF630B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501485"/>
            <a:ext cx="4925112" cy="704948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39D8AA22-4921-4A2C-A713-421759A001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94" y="3853898"/>
            <a:ext cx="8278380" cy="114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333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Age </a:t>
            </a:r>
            <a:r>
              <a:rPr lang="ko-KR" altLang="en-US" sz="2400" dirty="0" err="1"/>
              <a:t>결측치</a:t>
            </a:r>
            <a:r>
              <a:rPr lang="ko-KR" altLang="en-US" sz="2400" dirty="0"/>
              <a:t> </a:t>
            </a:r>
            <a:r>
              <a:rPr lang="ko-KR" altLang="en-US" sz="2400" dirty="0" err="1"/>
              <a:t>채워주기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10795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Initial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정보 확인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lle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me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is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오타로 예측되는 컬럼은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iss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변환시켜주고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Dr, Sir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ale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예측할 수 있는 컬럼은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r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로 변환시켜준다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E0B6F33-3A40-431F-879E-F48439EB73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273641"/>
            <a:ext cx="8185199" cy="1978467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67877D03-1ED8-4CFA-802F-235F19CC37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94" y="4481401"/>
            <a:ext cx="9450119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170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Age </a:t>
            </a:r>
            <a:r>
              <a:rPr lang="ko-KR" altLang="en-US" sz="2400" dirty="0" err="1"/>
              <a:t>결측치</a:t>
            </a:r>
            <a:r>
              <a:rPr lang="ko-KR" altLang="en-US" sz="2400" dirty="0"/>
              <a:t> </a:t>
            </a:r>
            <a:r>
              <a:rPr lang="ko-KR" altLang="en-US" sz="2400" dirty="0" err="1"/>
              <a:t>채워주기</a:t>
            </a:r>
            <a:endParaRPr lang="en-US" altLang="ko-KR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69223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각 그룹 별 평균나이 확인 및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결측치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채워주기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4900181-5681-4BFD-9221-676DD548FB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906" y="2724533"/>
            <a:ext cx="4641525" cy="358142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B69A09A-3583-4041-B28D-56E9ADEC61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906" y="3506933"/>
            <a:ext cx="2850813" cy="1733409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CCA56FDF-09D7-4355-9C19-A02D16EE3A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6428" y="3660848"/>
            <a:ext cx="7922110" cy="156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98297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나이대별 생존 빈도수 확인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23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나이대별 사망한 탑승객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나이대별 생존한 탑승객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46924F5-8FA8-4CF3-AF3F-196F40E956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5" y="2484891"/>
            <a:ext cx="7478169" cy="2353003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A67F280A-0047-4F6E-88B9-704FB0E530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7875" y="546247"/>
            <a:ext cx="4845377" cy="246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8965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353192" y="2693601"/>
            <a:ext cx="4368053" cy="31557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30-40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대 승객이 많이 사망하였음을 확인 할 수 있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장 나이가 많은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80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대 승객들은 모두 구조되었음을 확인 할 수 있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10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세 미만 아동도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높은 확률로 구조되었음을 확인 할 수 있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 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F01F2D-BC43-4166-9E20-8BD7D430A23D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나이대별 생존 빈도수 확인</a:t>
            </a:r>
            <a:endParaRPr lang="en-US" sz="2400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36DFC97F-653B-4528-BCC6-B9DC32D2E8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79" y="2620951"/>
            <a:ext cx="6353021" cy="3228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4131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승선항에 따른 생존여부 확인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856753"/>
            <a:ext cx="6223964" cy="302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승객이 가장 많이 생존 했음을 알 수 있다</a:t>
            </a: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703345B-651D-46B2-AC45-10ECD4DD58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4" y="2711454"/>
            <a:ext cx="6722071" cy="59934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BF1A1A23-F1A1-4AD5-B5AD-42613FF394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920" y="1797555"/>
            <a:ext cx="3391373" cy="330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46907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4869085"/>
            <a:ext cx="12192000" cy="19889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승선항에 따른 생존여부 확인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045828"/>
            <a:ext cx="6223964" cy="16354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, 0] :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승선항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별 탑승객 수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, 1] :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승선항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별 탑승객 성별 수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, 0] :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승선항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별 탑승객 생존여부 수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, 1] :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승선항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별 탑승객 티켓등급 수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FF70F55-385B-4F00-8071-4C08782784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172909"/>
            <a:ext cx="5382376" cy="252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597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사용할 모델 </a:t>
            </a:r>
            <a:r>
              <a:rPr lang="en-US" altLang="ko-KR" sz="2400" dirty="0"/>
              <a:t>(1) Linear SVC (</a:t>
            </a:r>
            <a:r>
              <a:rPr lang="ko-KR" altLang="en-US" sz="2400" dirty="0"/>
              <a:t>선형 서포트벡터 머신</a:t>
            </a:r>
            <a:r>
              <a:rPr lang="en-US" altLang="ko-KR" sz="2400" dirty="0"/>
              <a:t>)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AD96779-5DDA-425C-9FBF-18D2CE06A9D0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9842375" cy="15000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Support Vector Machine </a:t>
            </a:r>
            <a:endParaRPr lang="en-US" altLang="ko-KR" sz="1600" b="0" i="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주어진 데이터가 어느 그룹에 속하는지 분류하는 분류모델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두 부류 사이에 존재하는 여백</a:t>
            </a: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argin)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을 최대화하여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를 극대화하는 모델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FB3891F-06D3-4135-919C-732EFC3CB571}"/>
              </a:ext>
            </a:extLst>
          </p:cNvPr>
          <p:cNvSpPr txBox="1">
            <a:spLocks/>
          </p:cNvSpPr>
          <p:nvPr/>
        </p:nvSpPr>
        <p:spPr>
          <a:xfrm>
            <a:off x="909198" y="6058530"/>
            <a:ext cx="9842375" cy="4390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❓❗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Linear SVC : Classification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문제에 사용되는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VM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모델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4747D35-A9C3-4427-92EC-659A2D9817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0041" y="3542125"/>
            <a:ext cx="2400635" cy="2238687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73983F66-CF8B-47BD-8B32-43430C965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7478" y="3570704"/>
            <a:ext cx="2524477" cy="2210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146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324104" y="2082599"/>
            <a:ext cx="4368053" cy="40058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승객이 가장 많고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S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서 탑승한 대부분의 승객은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3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절반이상의 승객은 살아남았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그 이유가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대부분의 승객은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1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기 때문이라고 유추 할 수 있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Q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승객의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95%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상은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3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Q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 탑승한 승객의 절반 이상이 살아남지 못하였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A0DF326-B6AF-4C9F-8445-24F041E5A546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승선항에 따른 생존여부 확인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2350A81-36AB-4F76-A29D-82931AFF5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909" y="2082599"/>
            <a:ext cx="6315956" cy="469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35191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3"/>
            <a:ext cx="12192000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승선항에 따른 생존여부 확인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909199" y="6109384"/>
            <a:ext cx="8834429" cy="427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catplot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)-point plot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을 이용하여 각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별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en-US" altLang="ko-KR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와 생존여부 관계를 성별로 나누어 그리기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25B1F88-CECB-4E2C-8366-FD01126E9B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248327"/>
            <a:ext cx="7240010" cy="46679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18EA4E3D-B00F-407E-8D43-89481544AA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199" y="3119783"/>
            <a:ext cx="6213250" cy="214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31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324104" y="2082599"/>
            <a:ext cx="4368053" cy="30940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1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과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2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는 탑승항에 관계없이 여성탑승객의 생존확률이 거의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1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3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탑승객은 남녀 모두 생존율이 매우 낮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Q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에서 탑승한 남성은 거의 살아남지 못했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A0DF326-B6AF-4C9F-8445-24F041E5A546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승선항에 따른 생존여부 확인</a:t>
            </a:r>
            <a:endParaRPr lang="en-US" sz="2400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2FAE6FCD-19E0-482C-A420-E54053917D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45" y="2805777"/>
            <a:ext cx="6854237" cy="2370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52976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3"/>
            <a:ext cx="12192000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 err="1"/>
              <a:t>탑승항</a:t>
            </a:r>
            <a:r>
              <a:rPr lang="ko-KR" altLang="en-US" sz="2400" dirty="0"/>
              <a:t> </a:t>
            </a:r>
            <a:r>
              <a:rPr lang="ko-KR" altLang="en-US" sz="2400" dirty="0" err="1"/>
              <a:t>결측치</a:t>
            </a:r>
            <a:r>
              <a:rPr lang="ko-KR" altLang="en-US" sz="2400" dirty="0"/>
              <a:t> 채우기</a:t>
            </a:r>
            <a:endParaRPr lang="en-US" sz="240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9307E-3018-48F2-A032-BB8EDE9D7F06}"/>
              </a:ext>
            </a:extLst>
          </p:cNvPr>
          <p:cNvSpPr txBox="1">
            <a:spLocks/>
          </p:cNvSpPr>
          <p:nvPr/>
        </p:nvSpPr>
        <p:spPr>
          <a:xfrm>
            <a:off x="1017494" y="2259821"/>
            <a:ext cx="10486248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장 많은 탑승객이 존재하는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항구로 모두 채워준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BE42C60-D209-4834-8922-E8A916F570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3499095"/>
            <a:ext cx="8907371" cy="55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975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형제</a:t>
            </a:r>
            <a:r>
              <a:rPr lang="en-US" altLang="ko-KR" sz="2400" dirty="0"/>
              <a:t>/</a:t>
            </a:r>
            <a:r>
              <a:rPr lang="ko-KR" altLang="en-US" sz="2400" dirty="0"/>
              <a:t>자매 유무에 따른 생존정보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23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barplot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표현한 함께 탑승한 형제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매 수에 따른 생존율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ointplot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표현한 함께 탑승한 형제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매 수에 따른 생존율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C6C7BC1-DDD1-484A-B287-239CCD9992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85" y="2536546"/>
            <a:ext cx="6080353" cy="2310056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4643B325-1F1F-44CD-8945-9A88AEE05A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9452" y="2424771"/>
            <a:ext cx="5192558" cy="2451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0618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781368"/>
            <a:ext cx="12192000" cy="1076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형제</a:t>
            </a:r>
            <a:r>
              <a:rPr lang="en-US" altLang="ko-KR" sz="2400" dirty="0"/>
              <a:t>/</a:t>
            </a:r>
            <a:r>
              <a:rPr lang="ko-KR" altLang="en-US" sz="2400" dirty="0"/>
              <a:t>자매 유무에 따른 생존정보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41936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함께 탑승한 형제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매 수와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관계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74083EB-8449-4EB9-8DB5-40D4EA4E0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199" y="2603927"/>
            <a:ext cx="6317902" cy="47089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7781C75E-EF70-43B2-8F9F-935F8C8B1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2017" y="1737802"/>
            <a:ext cx="2261067" cy="349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2475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324104" y="2082599"/>
            <a:ext cx="4368053" cy="3905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승객이 형제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매없이 혼자 탑승하는 경우 생존율이 약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34.5%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임을 보여준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형제 수가 증가하면 그래프가 대략적으로 감소함을 볼 수 있는데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는 자신이 아닌 가족을 먼저 구하려고 하기 때문이라고 생각 할 수 있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놀랍게도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-8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인 가족의 생존율은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0%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유는 </a:t>
            </a:r>
            <a:r>
              <a:rPr lang="en-US" altLang="ko-KR" sz="1800" b="0" i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때문으로 예측 할 수 있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 5-8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인 가족은 </a:t>
            </a:r>
            <a:r>
              <a:rPr lang="en-US" altLang="ko-KR" sz="1800" b="0" i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 모두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3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였다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730F60D-2603-45B1-B8EC-5CD32F6C2E4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형제</a:t>
            </a:r>
            <a:r>
              <a:rPr lang="en-US" altLang="ko-KR" sz="2400" dirty="0"/>
              <a:t>/</a:t>
            </a:r>
            <a:r>
              <a:rPr lang="ko-KR" altLang="en-US" sz="2400" dirty="0"/>
              <a:t>자매 유무에 따른 생존정보</a:t>
            </a:r>
            <a:endParaRPr lang="en-US" sz="2400" dirty="0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5C347E2E-106E-4257-A4E3-E87E83737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30" y="2847905"/>
            <a:ext cx="6275817" cy="296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1922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545394"/>
            <a:ext cx="12192000" cy="1312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부모</a:t>
            </a:r>
            <a:r>
              <a:rPr lang="en-US" altLang="ko-KR" sz="2400" dirty="0"/>
              <a:t>/</a:t>
            </a:r>
            <a:r>
              <a:rPr lang="ko-KR" altLang="en-US" sz="2400" dirty="0"/>
              <a:t>자녀 유무에 따른 생존정보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5746604"/>
            <a:ext cx="6223964" cy="62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0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barplot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표현한 함께 탑승한 부모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녀 수에 따른 생존율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x[1] : </a:t>
            </a:r>
            <a:r>
              <a:rPr lang="en-US" altLang="ko-KR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ointplot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표현한 함께 탑승한 부모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녀 수에 따른 생존율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5524EF7-9D4F-43B1-A36B-0AE73CF5CC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126" y="2599057"/>
            <a:ext cx="5314874" cy="195866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7974E176-AFB9-4053-B89E-4DBE98F6B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622" y="2415168"/>
            <a:ext cx="5020736" cy="233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952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E9101275-F56B-4178-BAE8-5BD9C8030AAF}"/>
              </a:ext>
            </a:extLst>
          </p:cNvPr>
          <p:cNvSpPr/>
          <p:nvPr/>
        </p:nvSpPr>
        <p:spPr>
          <a:xfrm>
            <a:off x="6882440" y="0"/>
            <a:ext cx="5309559" cy="6857999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6161111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638D76C-3A4C-46EE-84E4-67DECFF693E5}"/>
              </a:ext>
            </a:extLst>
          </p:cNvPr>
          <p:cNvSpPr txBox="1">
            <a:spLocks/>
          </p:cNvSpPr>
          <p:nvPr/>
        </p:nvSpPr>
        <p:spPr>
          <a:xfrm>
            <a:off x="7462501" y="2758248"/>
            <a:ext cx="4368053" cy="24751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부모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녀와 함께 탑승한 승객도 형제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매와 비슷하게 함께 탑승한 승객의 숫자가 커질 수록 생존 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능성이 적어졌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1-3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명의 부모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자녀가 있는 경우 생존율이 높았다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730F60D-2603-45B1-B8EC-5CD32F6C2E4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부모</a:t>
            </a:r>
            <a:r>
              <a:rPr lang="en-US" altLang="ko-KR" sz="2400" dirty="0"/>
              <a:t>/</a:t>
            </a:r>
            <a:r>
              <a:rPr lang="ko-KR" altLang="en-US" sz="2400" dirty="0"/>
              <a:t>자녀 유무에 따른 생존정보</a:t>
            </a:r>
            <a:endParaRPr lang="en-US" sz="2400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88B72365-E607-4709-A59D-77CF87441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750" y="2636358"/>
            <a:ext cx="6645512" cy="308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9279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요금정보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69223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1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 </a:t>
            </a:r>
            <a:r>
              <a:rPr lang="ko-KR" altLang="en-US" sz="16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운임료가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2, 3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 비하여 높음을 확인 할 수 있다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0E86389-1C0D-4970-B778-17F959950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0929" y="277452"/>
            <a:ext cx="5182323" cy="2010056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5959A62-6C28-4671-A33B-3CBCB0D352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47" y="2300275"/>
            <a:ext cx="8145012" cy="3439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251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8B4BDF18-757A-4B6F-9AB1-5C09E4C0C7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7100" y="2160865"/>
            <a:ext cx="4005701" cy="3274225"/>
          </a:xfrm>
          <a:prstGeom prst="rect">
            <a:avLst/>
          </a:prstGeom>
        </p:spPr>
      </p:pic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사용할 모델 </a:t>
            </a:r>
            <a:r>
              <a:rPr lang="en-US" altLang="ko-KR" sz="2400" dirty="0"/>
              <a:t>(2) – Random Forest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978D4BC-374A-4C64-9E68-40AE1B4BB8E4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9842375" cy="15000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Decision tree  (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결정 트리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)</a:t>
            </a:r>
            <a:endParaRPr lang="en-US" altLang="ko-KR" sz="1600" b="0" i="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분류와 회귀 문제에 널리 사용되는 모델로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특정 기준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질문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)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에 따라 데이터를 구분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결정에 다르기 위해 예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아니요 질문을 이어 나가면서 학습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30448A8-CEB6-4B97-9ECA-C07FB80FB08D}"/>
              </a:ext>
            </a:extLst>
          </p:cNvPr>
          <p:cNvSpPr txBox="1">
            <a:spLocks/>
          </p:cNvSpPr>
          <p:nvPr/>
        </p:nvSpPr>
        <p:spPr>
          <a:xfrm>
            <a:off x="909198" y="4213053"/>
            <a:ext cx="9842375" cy="8694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ensemble (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앙상블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) </a:t>
            </a:r>
            <a:endParaRPr lang="en-US" altLang="ko-KR" sz="1600" b="0" i="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여러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머신러닝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모델을 연결하여 더 강력한 모델을 만드는 기법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422622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특징들 간의 상관관계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69223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heatmap() </a:t>
            </a:r>
            <a:r>
              <a:rPr lang="ko-KR" altLang="en-US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함수를 이용하면 특징들 간의 상관관계를 확인 할 수 있다</a:t>
            </a:r>
            <a:r>
              <a:rPr lang="en-US" altLang="ko-KR" sz="16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1FF5AA0-D27C-40AF-AB64-EA78DA123C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199" y="2540882"/>
            <a:ext cx="5391902" cy="47631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155939C-917C-409E-A401-AEBA55A540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1101" y="1737802"/>
            <a:ext cx="5273856" cy="3903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07754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연령대 컬럼 추가 및 </a:t>
            </a:r>
            <a:r>
              <a:rPr lang="en-US" altLang="ko-KR" sz="2400" dirty="0" err="1"/>
              <a:t>Pclass</a:t>
            </a:r>
            <a:r>
              <a:rPr lang="ko-KR" altLang="en-US" sz="2400" dirty="0"/>
              <a:t>별로 보는 연령대별 생존율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69223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연속적 수치인 나이를 연령대별로 나누어 범주화 시킬 수 있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351617F-C575-49C8-BB2A-5DFEB9EA1F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897708"/>
            <a:ext cx="4982270" cy="1467055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D5A46C31-E8B7-48CB-A868-537D628B6987}"/>
              </a:ext>
            </a:extLst>
          </p:cNvPr>
          <p:cNvSpPr txBox="1">
            <a:spLocks/>
          </p:cNvSpPr>
          <p:nvPr/>
        </p:nvSpPr>
        <p:spPr>
          <a:xfrm>
            <a:off x="1017494" y="2259821"/>
            <a:ext cx="10486248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연령대별 컬럼 추가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72B32E1-86D8-49FD-A1A6-8F33ECDC582D}"/>
              </a:ext>
            </a:extLst>
          </p:cNvPr>
          <p:cNvSpPr txBox="1">
            <a:spLocks/>
          </p:cNvSpPr>
          <p:nvPr/>
        </p:nvSpPr>
        <p:spPr>
          <a:xfrm>
            <a:off x="1017494" y="4548114"/>
            <a:ext cx="10486248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연령대별 수 확인</a:t>
            </a: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28A04342-6B5F-400E-8487-9ADE8F41DA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93" y="5169740"/>
            <a:ext cx="3852607" cy="382428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E48B993A-F57C-4B2D-BEC3-022384B44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4747" y="4468862"/>
            <a:ext cx="2238687" cy="101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15739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FE4A91-5F43-42DD-B902-CECA48467836}"/>
              </a:ext>
            </a:extLst>
          </p:cNvPr>
          <p:cNvSpPr txBox="1">
            <a:spLocks/>
          </p:cNvSpPr>
          <p:nvPr/>
        </p:nvSpPr>
        <p:spPr>
          <a:xfrm>
            <a:off x="1017494" y="6069223"/>
            <a:ext cx="6223964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class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와 상관 없이 연령이 증가할수록 생존율이 낮아진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EE78B903-6D16-4592-B7B3-8456B9829E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7365" y="2334673"/>
            <a:ext cx="7256352" cy="50043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19B4FC43-CAA5-4F51-8A27-044C8551F8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8017" y="3063479"/>
            <a:ext cx="8475047" cy="273008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79A9AFD0-C4A1-4AA6-966B-C5B0F64D8FEE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연령대 컬럼 추가 및 </a:t>
            </a:r>
            <a:r>
              <a:rPr lang="en-US" altLang="ko-KR" sz="2400" dirty="0" err="1"/>
              <a:t>Pclass</a:t>
            </a:r>
            <a:r>
              <a:rPr lang="ko-KR" altLang="en-US" sz="2400" dirty="0"/>
              <a:t>별로 보는 연령대별 생존율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063953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함께한 가족 수와 생존관계</a:t>
            </a:r>
            <a:endParaRPr lang="en-US" sz="2400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987F8B16-6C18-42D5-9E84-54E291045382}"/>
              </a:ext>
            </a:extLst>
          </p:cNvPr>
          <p:cNvSpPr txBox="1">
            <a:spLocks/>
          </p:cNvSpPr>
          <p:nvPr/>
        </p:nvSpPr>
        <p:spPr>
          <a:xfrm>
            <a:off x="1017494" y="2259821"/>
            <a:ext cx="10486248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en-US" altLang="ko-KR" sz="18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ibSp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속성과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Parch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속성을 합하여 </a:t>
            </a:r>
            <a:r>
              <a:rPr lang="en-US" altLang="ko-KR" sz="1800" dirty="0" err="1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Family_Size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와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Alone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 나타낼 수 있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896A899A-ED20-4F87-AEA5-D23EB450A4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116" y="3254533"/>
            <a:ext cx="7246822" cy="173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785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함께한 가족 수와 생존관계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5C9ED98-6C31-42B5-A783-C31C2C3091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600" y="750970"/>
            <a:ext cx="6971873" cy="1549305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B3836E7D-7854-4A1C-A610-F88209DA23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085" y="2658963"/>
            <a:ext cx="7100214" cy="2638649"/>
          </a:xfrm>
          <a:prstGeom prst="rect">
            <a:avLst/>
          </a:prstGeom>
        </p:spPr>
      </p:pic>
      <p:sp>
        <p:nvSpPr>
          <p:cNvPr id="15" name="Subtitle 2">
            <a:extLst>
              <a:ext uri="{FF2B5EF4-FFF2-40B4-BE49-F238E27FC236}">
                <a16:creationId xmlns:a16="http://schemas.microsoft.com/office/drawing/2014/main" id="{0C367A01-8716-4363-9C7F-1EEA3EA17A70}"/>
              </a:ext>
            </a:extLst>
          </p:cNvPr>
          <p:cNvSpPr txBox="1">
            <a:spLocks/>
          </p:cNvSpPr>
          <p:nvPr/>
        </p:nvSpPr>
        <p:spPr>
          <a:xfrm>
            <a:off x="1017493" y="6069223"/>
            <a:ext cx="7639809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혼자이거나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족의 수가 너무 많을 경우 생존율이 떨어지는 것을 확인 할 수 있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704783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데이터 </a:t>
            </a:r>
            <a:r>
              <a:rPr lang="ko-KR" altLang="en-US" sz="2400" dirty="0" err="1"/>
              <a:t>전처리</a:t>
            </a:r>
            <a:endParaRPr lang="en-US" sz="240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367A01-8716-4363-9C7F-1EEA3EA17A70}"/>
              </a:ext>
            </a:extLst>
          </p:cNvPr>
          <p:cNvSpPr txBox="1">
            <a:spLocks/>
          </p:cNvSpPr>
          <p:nvPr/>
        </p:nvSpPr>
        <p:spPr>
          <a:xfrm>
            <a:off x="1017493" y="6069223"/>
            <a:ext cx="7639809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컴퓨터가 학습 할 수 있도록 데이터를 처리해준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AF2F4B9-5E40-43B6-8052-081B5E2E838C}"/>
              </a:ext>
            </a:extLst>
          </p:cNvPr>
          <p:cNvSpPr txBox="1">
            <a:spLocks/>
          </p:cNvSpPr>
          <p:nvPr/>
        </p:nvSpPr>
        <p:spPr>
          <a:xfrm>
            <a:off x="783642" y="2265359"/>
            <a:ext cx="11007497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기계학습 모델은 문자열을 학습할 수 없기 때문에 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Sex, Embarked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등과 같은 문자열 정보를 숫자 값으로 변환시켜준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3EB7A07-3891-42EA-95D6-4C676D89D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642" y="3636775"/>
            <a:ext cx="10929497" cy="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1754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데이터 </a:t>
            </a:r>
            <a:r>
              <a:rPr lang="ko-KR" altLang="en-US" sz="2400" dirty="0" err="1"/>
              <a:t>전처리</a:t>
            </a:r>
            <a:endParaRPr lang="en-US" sz="240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C367A01-8716-4363-9C7F-1EEA3EA17A70}"/>
              </a:ext>
            </a:extLst>
          </p:cNvPr>
          <p:cNvSpPr txBox="1">
            <a:spLocks/>
          </p:cNvSpPr>
          <p:nvPr/>
        </p:nvSpPr>
        <p:spPr>
          <a:xfrm>
            <a:off x="1017493" y="6069223"/>
            <a:ext cx="7639809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컴퓨터가 학습 할 수 있도록 데이터를 처리해준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AF2F4B9-5E40-43B6-8052-081B5E2E838C}"/>
              </a:ext>
            </a:extLst>
          </p:cNvPr>
          <p:cNvSpPr txBox="1">
            <a:spLocks/>
          </p:cNvSpPr>
          <p:nvPr/>
        </p:nvSpPr>
        <p:spPr>
          <a:xfrm>
            <a:off x="783642" y="2265359"/>
            <a:ext cx="11007497" cy="542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기계학습에 불필요한 특징은 제거한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2738112-361A-4FBC-B2BF-231F64CDEC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47" y="3030083"/>
            <a:ext cx="11290195" cy="43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05583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필요한 라이브러리 </a:t>
            </a:r>
            <a:r>
              <a:rPr lang="en-US" altLang="ko-KR" sz="2400" dirty="0"/>
              <a:t>import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055014A-9925-4F4C-BFB7-56E7DC727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540882"/>
            <a:ext cx="6733630" cy="67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42135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훈련데이터</a:t>
            </a:r>
            <a:r>
              <a:rPr lang="en-US" altLang="ko-KR" sz="2400" dirty="0"/>
              <a:t>, </a:t>
            </a:r>
            <a:r>
              <a:rPr lang="ko-KR" altLang="en-US" sz="2400" dirty="0"/>
              <a:t>테스트데이터 나누기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BDC660A-24CD-40DE-AB00-C85DC865A6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532994"/>
            <a:ext cx="9397446" cy="2460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58546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훈련데이터</a:t>
            </a:r>
            <a:r>
              <a:rPr lang="en-US" altLang="ko-KR" sz="2400" dirty="0"/>
              <a:t>, </a:t>
            </a:r>
            <a:r>
              <a:rPr lang="ko-KR" altLang="en-US" sz="2400" dirty="0"/>
              <a:t>테스트데이터 나누기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96418C9-5F7F-41BF-9689-BA868FB9D6EE}"/>
              </a:ext>
            </a:extLst>
          </p:cNvPr>
          <p:cNvSpPr txBox="1">
            <a:spLocks/>
          </p:cNvSpPr>
          <p:nvPr/>
        </p:nvSpPr>
        <p:spPr>
          <a:xfrm>
            <a:off x="783642" y="2265359"/>
            <a:ext cx="11007497" cy="34358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❓❗ </a:t>
            </a:r>
            <a:r>
              <a:rPr lang="en-US" altLang="ko-KR" sz="18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왜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?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훈련 데이터세트로 학습된 모델을 다시 훈련 데이터세트로 평가한다면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미 그에 맞는 규칙에 따라 학습된 모델이기 때문에 아주 높은 성능이 나올 것이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런 문제를 해결하기위해 훈련용 데이터와 테스트용 데이터로 나눈 후 모델 평가에 테스트데이터를 사용한다</a:t>
            </a:r>
            <a:r>
              <a:rPr lang="en-US" altLang="ko-KR" sz="1800" dirty="0"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altLang="ko-KR" sz="18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DF325C6-098D-4285-AC33-4E377856B958}"/>
              </a:ext>
            </a:extLst>
          </p:cNvPr>
          <p:cNvSpPr txBox="1">
            <a:spLocks/>
          </p:cNvSpPr>
          <p:nvPr/>
        </p:nvSpPr>
        <p:spPr>
          <a:xfrm>
            <a:off x="1017493" y="6069223"/>
            <a:ext cx="7639809" cy="302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아주 높은 성능이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나오는 것을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과적합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overfitting)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라고 한다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34664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DBF1CF37-C06D-401E-94A7-A4E10C0EF0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0" y="1670153"/>
            <a:ext cx="4825252" cy="3757068"/>
          </a:xfrm>
          <a:prstGeom prst="rect">
            <a:avLst/>
          </a:prstGeom>
        </p:spPr>
      </p:pic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사용할 모델 </a:t>
            </a:r>
            <a:r>
              <a:rPr lang="en-US" altLang="ko-KR" sz="2400" dirty="0"/>
              <a:t>(2) – Random Forest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978D4BC-374A-4C64-9E68-40AE1B4BB8E4}"/>
              </a:ext>
            </a:extLst>
          </p:cNvPr>
          <p:cNvSpPr txBox="1">
            <a:spLocks/>
          </p:cNvSpPr>
          <p:nvPr/>
        </p:nvSpPr>
        <p:spPr>
          <a:xfrm>
            <a:off x="909199" y="2268667"/>
            <a:ext cx="9842375" cy="33058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❓❗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rPr>
              <a:t>Random Forest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여러 개의 의사결정 트리를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ensemble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한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machine learning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모델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의사결정 트리의 각 트리는 예측을 잘 할 수 있지만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데이터의 일부에 과대 적합하는 경향을 가진다는 데 기초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트리를 랜덤하게 만들어</a:t>
            </a: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그 결과를 평균 냄으로써 과대적합을 방지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9974760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모델 적용 </a:t>
            </a:r>
            <a:r>
              <a:rPr lang="en-US" altLang="ko-KR" sz="2400" dirty="0"/>
              <a:t>1 – Linear SVM</a:t>
            </a:r>
            <a:endParaRPr lang="en-US" sz="24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77AE7EC-BF83-4C2E-95DD-8A57C8D92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219445"/>
            <a:ext cx="9575974" cy="3327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34213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모델 적용 </a:t>
            </a:r>
            <a:r>
              <a:rPr lang="en-US" altLang="ko-KR" sz="2400" dirty="0"/>
              <a:t>2 – Random Forest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7D5B539-8948-40B2-8EAA-DBAE6D7DCB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494" y="2300275"/>
            <a:ext cx="8610850" cy="3421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787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모델 적용 </a:t>
            </a:r>
            <a:r>
              <a:rPr lang="en-US" altLang="ko-KR" sz="2400" dirty="0"/>
              <a:t>3 – </a:t>
            </a:r>
            <a:r>
              <a:rPr lang="en-US" altLang="ko-KR" sz="2400" dirty="0" err="1"/>
              <a:t>XGBoost</a:t>
            </a:r>
            <a:endParaRPr lang="en-US" sz="24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C2282B7-4F9E-4020-A8AE-9E113DA22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199" y="2219206"/>
            <a:ext cx="9179857" cy="320801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9EE02E45-B29F-4045-AC99-89A64B7CD5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494" y="5476769"/>
            <a:ext cx="3911310" cy="259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72351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33670D-BD72-4F40-A0E8-EAE7ED8BABC1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70C2E0-88D4-41B3-95EE-B198B073A05A}"/>
              </a:ext>
            </a:extLst>
          </p:cNvPr>
          <p:cNvSpPr/>
          <p:nvPr/>
        </p:nvSpPr>
        <p:spPr>
          <a:xfrm>
            <a:off x="2686050" y="2159420"/>
            <a:ext cx="9505950" cy="3148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4DDA8CC-E9DE-4C6B-BA5A-26FA6FABF9A3}"/>
              </a:ext>
            </a:extLst>
          </p:cNvPr>
          <p:cNvGrpSpPr/>
          <p:nvPr/>
        </p:nvGrpSpPr>
        <p:grpSpPr>
          <a:xfrm>
            <a:off x="3553279" y="2159420"/>
            <a:ext cx="6254582" cy="2781434"/>
            <a:chOff x="98924" y="3811656"/>
            <a:chExt cx="6254582" cy="278143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1F8DFF0-9963-4CF8-9832-2073CDF378C6}"/>
                </a:ext>
              </a:extLst>
            </p:cNvPr>
            <p:cNvCxnSpPr>
              <a:cxnSpLocks/>
            </p:cNvCxnSpPr>
            <p:nvPr/>
          </p:nvCxnSpPr>
          <p:spPr>
            <a:xfrm>
              <a:off x="98924" y="3811656"/>
              <a:ext cx="932996" cy="0"/>
            </a:xfrm>
            <a:prstGeom prst="line">
              <a:avLst/>
            </a:prstGeom>
            <a:ln w="190500">
              <a:solidFill>
                <a:srgbClr val="54CB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85D67F-C40B-4E18-A016-43FB479BAA20}"/>
                </a:ext>
              </a:extLst>
            </p:cNvPr>
            <p:cNvSpPr txBox="1"/>
            <p:nvPr/>
          </p:nvSpPr>
          <p:spPr>
            <a:xfrm>
              <a:off x="98924" y="4426343"/>
              <a:ext cx="6254582" cy="2166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HANK</a:t>
              </a:r>
            </a:p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YO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16775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3E4D7AA5-AF91-439D-9188-EAE55D027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460" y="3793373"/>
            <a:ext cx="6263242" cy="2010238"/>
          </a:xfrm>
          <a:prstGeom prst="rect">
            <a:avLst/>
          </a:prstGeom>
        </p:spPr>
      </p:pic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사용할 모델 </a:t>
            </a:r>
            <a:r>
              <a:rPr lang="en-US" altLang="ko-KR" sz="2400" dirty="0"/>
              <a:t>(3) – </a:t>
            </a:r>
            <a:r>
              <a:rPr lang="en-US" altLang="ko-KR" sz="2400" dirty="0" err="1"/>
              <a:t>XGBoost</a:t>
            </a:r>
            <a:r>
              <a:rPr lang="en-US" altLang="ko-KR" sz="2400" dirty="0"/>
              <a:t> ( </a:t>
            </a:r>
            <a:r>
              <a:rPr lang="en-US" altLang="ko-KR" sz="2000" dirty="0"/>
              <a:t>Extreme Gradient Boosting</a:t>
            </a:r>
            <a:r>
              <a:rPr lang="en-US" altLang="ko-KR" sz="2400" dirty="0"/>
              <a:t> )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BA4D633-B298-4041-857E-4EF5F2ACA467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9842375" cy="15000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lang="en-US" altLang="ko-KR" sz="24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Boostin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여러 개의 의사결정 트리를 조합해서 사용하는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ensemble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기법 중 하나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약한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예측 모델의 학습 에러에 가중치를 두고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순차적으로 다음 모델에 반영하여 강한 예측 모델을 생성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ea typeface="NanumBarunGothicOTF" panose="02020603020101020101" pitchFamily="18" charset="-127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BD372B4-12FC-48D5-A549-8307923BFF7E}"/>
              </a:ext>
            </a:extLst>
          </p:cNvPr>
          <p:cNvSpPr txBox="1">
            <a:spLocks/>
          </p:cNvSpPr>
          <p:nvPr/>
        </p:nvSpPr>
        <p:spPr>
          <a:xfrm>
            <a:off x="909198" y="4048467"/>
            <a:ext cx="9842375" cy="15000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lang="en-US" altLang="ko-KR" sz="2400" b="1" i="0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G</a:t>
            </a:r>
            <a:r>
              <a:rPr lang="en-US" altLang="ko-KR" sz="24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radient Boostin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가중치를 업데이트 할 때 </a:t>
            </a:r>
            <a:r>
              <a:rPr lang="ko-KR" altLang="en-US" sz="1600" dirty="0" err="1">
                <a:solidFill>
                  <a:srgbClr val="C00000"/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경사하강법</a:t>
            </a:r>
            <a:endParaRPr lang="en-US" altLang="ko-KR" sz="1600" dirty="0">
              <a:solidFill>
                <a:srgbClr val="C00000"/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(Gradient Descent)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을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이용하는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Boosting.</a:t>
            </a:r>
          </a:p>
        </p:txBody>
      </p:sp>
    </p:spTree>
    <p:extLst>
      <p:ext uri="{BB962C8B-B14F-4D97-AF65-F5344CB8AC3E}">
        <p14:creationId xmlns:p14="http://schemas.microsoft.com/office/powerpoint/2010/main" val="1724999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2">
            <a:extLst>
              <a:ext uri="{FF2B5EF4-FFF2-40B4-BE49-F238E27FC236}">
                <a16:creationId xmlns:a16="http://schemas.microsoft.com/office/drawing/2014/main" id="{F32AB9E2-C584-4C76-A8EC-BC785C3D691C}"/>
              </a:ext>
            </a:extLst>
          </p:cNvPr>
          <p:cNvSpPr/>
          <p:nvPr/>
        </p:nvSpPr>
        <p:spPr>
          <a:xfrm>
            <a:off x="0" y="5885872"/>
            <a:ext cx="12192000" cy="97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54D8F2E-6BB2-4F8C-9940-E2C6BB50D7A3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6FA4171C-63AE-E249-A143-A47FF219F6D2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1DC68A1-5B24-1A49-9E89-DAB2E708A52A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ko-KR" altLang="en-US" sz="2400" dirty="0"/>
              <a:t>사용할 모델 </a:t>
            </a:r>
            <a:r>
              <a:rPr lang="en-US" altLang="ko-KR" sz="2400" dirty="0"/>
              <a:t>(3) – </a:t>
            </a:r>
            <a:r>
              <a:rPr lang="en-US" altLang="ko-KR" sz="2400" dirty="0" err="1"/>
              <a:t>XGBoost</a:t>
            </a:r>
            <a:r>
              <a:rPr lang="en-US" altLang="ko-KR" sz="2400" dirty="0"/>
              <a:t> ( </a:t>
            </a:r>
            <a:r>
              <a:rPr lang="en-US" altLang="ko-KR" sz="2000" dirty="0"/>
              <a:t>Extreme Gradient Boosting</a:t>
            </a:r>
            <a:r>
              <a:rPr lang="en-US" altLang="ko-KR" sz="2400" dirty="0"/>
              <a:t> )</a:t>
            </a:r>
            <a:endParaRPr lang="en-US" sz="2400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BA4D633-B298-4041-857E-4EF5F2ACA467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10997051" cy="869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❓❗</a:t>
            </a: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 </a:t>
            </a:r>
            <a:r>
              <a:rPr lang="en-US" altLang="ko-KR" sz="2400" b="1" dirty="0" err="1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XGBoost</a:t>
            </a:r>
            <a:endParaRPr lang="en-US" altLang="ko-KR" sz="2400" b="1" dirty="0">
              <a:solidFill>
                <a:prstClr val="black"/>
              </a:solidFill>
              <a:latin typeface="Calibri" panose="020F0502020204030204"/>
              <a:ea typeface="맑은 고딕" panose="020B0503020000020004" pitchFamily="34" charset="-127"/>
              <a:cs typeface="+mn-cs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병렬 처리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트리 가지치기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, 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누락된 값 처리 및 </a:t>
            </a:r>
            <a:r>
              <a:rPr lang="ko-KR" altLang="en-US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과적합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/</a:t>
            </a:r>
            <a:r>
              <a:rPr lang="ko-KR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편향을 방지하기 위한 정규화를 통해 최적화된 </a:t>
            </a:r>
            <a:r>
              <a:rPr lang="en-US" altLang="ko-K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Gradient Boosting.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5EEF388-E3AF-4A52-8A2C-762E635EF2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473" b="20514"/>
          <a:stretch/>
        </p:blipFill>
        <p:spPr>
          <a:xfrm>
            <a:off x="2384711" y="3429000"/>
            <a:ext cx="7422577" cy="216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19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OuJOCQqsn09k4vxNef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ZgUHzteJMVIsmNTmzU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85</Words>
  <Application>Microsoft Office PowerPoint</Application>
  <PresentationFormat>와이드스크린</PresentationFormat>
  <Paragraphs>454</Paragraphs>
  <Slides>73</Slides>
  <Notes>72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3</vt:i4>
      </vt:variant>
    </vt:vector>
  </HeadingPairs>
  <TitlesOfParts>
    <vt:vector size="79" baseType="lpstr">
      <vt:lpstr>NanumBarunGothicOTF</vt:lpstr>
      <vt:lpstr>Arial</vt:lpstr>
      <vt:lpstr>Calibri</vt:lpstr>
      <vt:lpstr>Segoe UI</vt:lpstr>
      <vt:lpstr>Office Theme</vt:lpstr>
      <vt:lpstr>think-cell Slide</vt:lpstr>
      <vt:lpstr>광주･전남지역 재직자대상 AI융합 교육 프로그램</vt:lpstr>
      <vt:lpstr>INTRODUCE</vt:lpstr>
      <vt:lpstr>INTRODUCE</vt:lpstr>
      <vt:lpstr>INTRODUCE</vt:lpstr>
      <vt:lpstr>INTRODUCE</vt:lpstr>
      <vt:lpstr>INTRODUCE</vt:lpstr>
      <vt:lpstr>INTRODUCE</vt:lpstr>
      <vt:lpstr>INTRODUCE</vt:lpstr>
      <vt:lpstr>INTRODUCE</vt:lpstr>
      <vt:lpstr>Dataset</vt:lpstr>
      <vt:lpstr>Dataset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07T01:42:18Z</dcterms:created>
  <dcterms:modified xsi:type="dcterms:W3CDTF">2022-01-17T12:59:17Z</dcterms:modified>
</cp:coreProperties>
</file>